
<file path=[Content_Types].xml><?xml version="1.0" encoding="utf-8"?>
<Types xmlns="http://schemas.openxmlformats.org/package/2006/content-types">
  <Override PartName="/ppt/slideMasters/slideMaster3.xml" ContentType="application/vnd.openxmlformats-officedocument.presentationml.slideMaster+xml"/>
  <Override PartName="/ppt/slides/slide29.xml" ContentType="application/vnd.openxmlformats-officedocument.presentationml.slide+xml"/>
  <Override PartName="/ppt/slides/slide47.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notesSlides/notesSlide3.xml" ContentType="application/vnd.openxmlformats-officedocument.presentationml.notesSlide+xml"/>
  <Default Extension="bin" ContentType="application/vnd.openxmlformats-officedocument.oleObject"/>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Default Extension="emf" ContentType="image/x-emf"/>
  <Override PartName="/ppt/tags/tag39.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slideLayouts/slideLayout21.xml" ContentType="application/vnd.openxmlformats-officedocument.presentationml.slideLayout+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slides/slide8.xml" ContentType="application/vnd.openxmlformats-officedocument.presentationml.slide+xml"/>
  <Override PartName="/ppt/slides/slide49.xml" ContentType="application/vnd.openxmlformats-officedocument.presentationml.slide+xml"/>
  <Override PartName="/ppt/tags/tag11.xml" ContentType="application/vnd.openxmlformats-officedocument.presentationml.tags+xml"/>
  <Override PartName="/ppt/notesSlides/notesSlide4.xml" ContentType="application/vnd.openxmlformats-officedocument.presentationml.notesSlide+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58.xml" ContentType="application/vnd.openxmlformats-officedocument.presentationml.tags+xml"/>
  <Default Extension="wmf" ContentType="image/x-wmf"/>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theme/theme4.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Default Extension="jpeg" ContentType="image/jpeg"/>
  <Override PartName="/ppt/slideLayouts/slideLayout16.xml" ContentType="application/vnd.openxmlformats-officedocument.presentationml.slideLayout+xml"/>
  <Override PartName="/ppt/slideLayouts/slideLayout34.xml" ContentType="application/vnd.openxmlformats-officedocument.presentationml.slideLayout+xml"/>
  <Override PartName="/ppt/tags/tag3.xml" ContentType="application/vnd.openxmlformats-officedocument.presentationml.tags+xml"/>
  <Override PartName="/ppt/tags/tag59.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wmf"/><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2" r:id="rId2"/>
    <p:sldMasterId id="2147483664" r:id="rId3"/>
  </p:sldMasterIdLst>
  <p:notesMasterIdLst>
    <p:notesMasterId r:id="rId59"/>
  </p:notesMasterIdLst>
  <p:sldIdLst>
    <p:sldId id="262" r:id="rId4"/>
    <p:sldId id="415" r:id="rId5"/>
    <p:sldId id="433" r:id="rId6"/>
    <p:sldId id="424" r:id="rId7"/>
    <p:sldId id="501" r:id="rId8"/>
    <p:sldId id="412" r:id="rId9"/>
    <p:sldId id="426" r:id="rId10"/>
    <p:sldId id="425" r:id="rId11"/>
    <p:sldId id="409" r:id="rId12"/>
    <p:sldId id="410" r:id="rId13"/>
    <p:sldId id="422" r:id="rId14"/>
    <p:sldId id="430" r:id="rId15"/>
    <p:sldId id="472" r:id="rId16"/>
    <p:sldId id="502" r:id="rId17"/>
    <p:sldId id="461" r:id="rId18"/>
    <p:sldId id="449" r:id="rId19"/>
    <p:sldId id="474" r:id="rId20"/>
    <p:sldId id="441" r:id="rId21"/>
    <p:sldId id="489" r:id="rId22"/>
    <p:sldId id="490" r:id="rId23"/>
    <p:sldId id="491" r:id="rId24"/>
    <p:sldId id="492" r:id="rId25"/>
    <p:sldId id="493" r:id="rId26"/>
    <p:sldId id="494" r:id="rId27"/>
    <p:sldId id="495" r:id="rId28"/>
    <p:sldId id="496" r:id="rId29"/>
    <p:sldId id="497" r:id="rId30"/>
    <p:sldId id="500" r:id="rId31"/>
    <p:sldId id="476" r:id="rId32"/>
    <p:sldId id="505" r:id="rId33"/>
    <p:sldId id="506" r:id="rId34"/>
    <p:sldId id="507" r:id="rId35"/>
    <p:sldId id="508" r:id="rId36"/>
    <p:sldId id="509" r:id="rId37"/>
    <p:sldId id="510" r:id="rId38"/>
    <p:sldId id="511" r:id="rId39"/>
    <p:sldId id="512" r:id="rId40"/>
    <p:sldId id="513" r:id="rId41"/>
    <p:sldId id="514" r:id="rId42"/>
    <p:sldId id="515" r:id="rId43"/>
    <p:sldId id="516" r:id="rId44"/>
    <p:sldId id="479" r:id="rId45"/>
    <p:sldId id="480" r:id="rId46"/>
    <p:sldId id="481" r:id="rId47"/>
    <p:sldId id="477" r:id="rId48"/>
    <p:sldId id="458" r:id="rId49"/>
    <p:sldId id="503" r:id="rId50"/>
    <p:sldId id="518" r:id="rId51"/>
    <p:sldId id="519" r:id="rId52"/>
    <p:sldId id="486" r:id="rId53"/>
    <p:sldId id="488" r:id="rId54"/>
    <p:sldId id="478" r:id="rId55"/>
    <p:sldId id="466" r:id="rId56"/>
    <p:sldId id="467" r:id="rId57"/>
    <p:sldId id="468" r:id="rId58"/>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EB2A2"/>
    <a:srgbClr val="9999FF"/>
    <a:srgbClr val="CCCCFF"/>
    <a:srgbClr val="00CCFF"/>
    <a:srgbClr val="C0C0C0"/>
    <a:srgbClr val="7889FB"/>
    <a:srgbClr val="000066"/>
    <a:srgbClr val="006600"/>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957" autoAdjust="0"/>
    <p:restoredTop sz="95857" autoAdjust="0"/>
  </p:normalViewPr>
  <p:slideViewPr>
    <p:cSldViewPr snapToGrid="0" snapToObjects="1">
      <p:cViewPr varScale="1">
        <p:scale>
          <a:sx n="76" d="100"/>
          <a:sy n="76" d="100"/>
        </p:scale>
        <p:origin x="-972" y="-96"/>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1" d="100"/>
        <a:sy n="71" d="100"/>
      </p:scale>
      <p:origin x="0" y="0"/>
    </p:cViewPr>
  </p:sorter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tableStyles" Target="tableStyle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61"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6EA8F07C-E109-44AA-9BC7-A81B47F96597}" type="datetimeFigureOut">
              <a:rPr lang="en-US"/>
              <a:pPr>
                <a:defRPr/>
              </a:pPr>
              <a:t>5/22/2014</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95DEA485-52A1-4BB6-B92F-841C573B9133}"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anchor="b"/>
          <a:lstStyle/>
          <a:p>
            <a:pPr algn="r"/>
            <a:fld id="{0A88E5AA-C3FD-4BCE-AF33-7538B8C5F926}" type="slidenum">
              <a:rPr lang="en-US" sz="1200">
                <a:latin typeface="Calibri" pitchFamily="34" charset="0"/>
              </a:rPr>
              <a:pPr algn="r"/>
              <a:t>4</a:t>
            </a:fld>
            <a:endParaRPr lang="en-US" sz="1200">
              <a:latin typeface="Calibri" pitchFamily="34" charset="0"/>
            </a:endParaRPr>
          </a:p>
        </p:txBody>
      </p:sp>
      <p:sp>
        <p:nvSpPr>
          <p:cNvPr id="44034"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44035"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s-E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9154" name="Rectangle 6"/>
          <p:cNvSpPr txBox="1">
            <a:spLocks noGrp="1" noChangeArrowheads="1"/>
          </p:cNvSpPr>
          <p:nvPr/>
        </p:nvSpPr>
        <p:spPr bwMode="auto">
          <a:xfrm>
            <a:off x="3884613" y="8685213"/>
            <a:ext cx="2971800" cy="457200"/>
          </a:xfrm>
          <a:prstGeom prst="rect">
            <a:avLst/>
          </a:prstGeom>
          <a:noFill/>
          <a:ln w="9525">
            <a:noFill/>
            <a:miter lim="800000"/>
            <a:headEnd/>
            <a:tailEnd/>
          </a:ln>
        </p:spPr>
        <p:txBody>
          <a:bodyPr anchor="b"/>
          <a:lstStyle/>
          <a:p>
            <a:pPr algn="r"/>
            <a:fld id="{FB95B98F-5BBF-478A-B32B-6971A70EFE2F}" type="slidenum">
              <a:rPr lang="en-US" sz="1200">
                <a:latin typeface="Calibri" pitchFamily="34" charset="0"/>
              </a:rPr>
              <a:pPr algn="r"/>
              <a:t>7</a:t>
            </a:fld>
            <a:endParaRPr lang="en-US" sz="1200">
              <a:latin typeface="Calibri" pitchFamily="34" charset="0"/>
            </a:endParaRPr>
          </a:p>
        </p:txBody>
      </p:sp>
      <p:sp>
        <p:nvSpPr>
          <p:cNvPr id="49155" name="Rectangle 2"/>
          <p:cNvSpPr>
            <a:spLocks noGrp="1" noRot="1" noChangeAspect="1" noChangeArrowheads="1" noTextEdit="1"/>
          </p:cNvSpPr>
          <p:nvPr>
            <p:ph type="sldImg"/>
          </p:nvPr>
        </p:nvSpPr>
        <p:spPr bwMode="auto">
          <a:xfrm>
            <a:off x="1141413" y="695325"/>
            <a:ext cx="4572000" cy="3429000"/>
          </a:xfrm>
          <a:noFill/>
          <a:ln>
            <a:solidFill>
              <a:srgbClr val="000000"/>
            </a:solidFill>
            <a:miter lim="800000"/>
            <a:headEnd/>
            <a:tailEnd/>
          </a:ln>
        </p:spPr>
      </p:sp>
      <p:sp>
        <p:nvSpPr>
          <p:cNvPr id="49156" name="Rectangle 3"/>
          <p:cNvSpPr>
            <a:spLocks noGrp="1" noChangeArrowheads="1"/>
          </p:cNvSpPr>
          <p:nvPr>
            <p:ph type="body" idx="1"/>
          </p:nvPr>
        </p:nvSpPr>
        <p:spPr bwMode="auto">
          <a:noFill/>
        </p:spPr>
        <p:txBody>
          <a:bodyPr wrap="none" numCol="1" anchor="ctr" anchorCtr="0" compatLnSpc="1">
            <a:prstTxWarp prst="textNoShape">
              <a:avLst/>
            </a:prstTxWarp>
          </a:bodyPr>
          <a:lstStyle/>
          <a:p>
            <a:pPr>
              <a:spcBef>
                <a:spcPct val="0"/>
              </a:spcBef>
            </a:pPr>
            <a:endParaRPr 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anchor="b"/>
          <a:lstStyle/>
          <a:p>
            <a:pPr algn="r"/>
            <a:fld id="{7D17705E-3EE3-4A32-9D88-A212FC70D4F2}" type="slidenum">
              <a:rPr lang="en-US" sz="1200">
                <a:latin typeface="Calibri" pitchFamily="34" charset="0"/>
              </a:rPr>
              <a:pPr algn="r"/>
              <a:t>9</a:t>
            </a:fld>
            <a:endParaRPr lang="en-US" sz="1200">
              <a:latin typeface="Calibri" pitchFamily="34" charset="0"/>
            </a:endParaRPr>
          </a:p>
        </p:txBody>
      </p:sp>
      <p:sp>
        <p:nvSpPr>
          <p:cNvPr id="54274" name="Rectangle 2"/>
          <p:cNvSpPr>
            <a:spLocks noGrp="1" noRot="1" noChangeAspect="1" noChangeArrowheads="1" noTextEdit="1"/>
          </p:cNvSpPr>
          <p:nvPr>
            <p:ph type="sldImg"/>
          </p:nvPr>
        </p:nvSpPr>
        <p:spPr bwMode="auto">
          <a:xfrm>
            <a:off x="1154113" y="692150"/>
            <a:ext cx="4554537" cy="3416300"/>
          </a:xfrm>
          <a:noFill/>
          <a:ln>
            <a:solidFill>
              <a:srgbClr val="000000"/>
            </a:solidFill>
            <a:miter lim="800000"/>
            <a:headEnd/>
            <a:tailEnd/>
          </a:ln>
        </p:spPr>
      </p:sp>
      <p:sp>
        <p:nvSpPr>
          <p:cNvPr id="54275" name="Rectangle 3"/>
          <p:cNvSpPr>
            <a:spLocks noGrp="1" noChangeArrowheads="1"/>
          </p:cNvSpPr>
          <p:nvPr>
            <p:ph type="body" idx="1"/>
          </p:nvPr>
        </p:nvSpPr>
        <p:spPr bwMode="auto">
          <a:xfrm>
            <a:off x="914400" y="4343400"/>
            <a:ext cx="5029200" cy="4114800"/>
          </a:xfrm>
          <a:noFill/>
        </p:spPr>
        <p:txBody>
          <a:bodyPr wrap="square" lIns="88493" tIns="44247" rIns="88493" bIns="44247" numCol="1" anchor="t" anchorCtr="0" compatLnSpc="1">
            <a:prstTxWarp prst="textNoShape">
              <a:avLst/>
            </a:prstTxWarp>
          </a:bodyPr>
          <a:lstStyle/>
          <a:p>
            <a:pPr>
              <a:spcBef>
                <a:spcPct val="0"/>
              </a:spcBef>
            </a:pPr>
            <a:endParaRPr lang="nl-NL"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anchor="b"/>
          <a:lstStyle/>
          <a:p>
            <a:pPr algn="r"/>
            <a:fld id="{54111D53-E5D6-448F-845B-C3E6213B327F}" type="slidenum">
              <a:rPr lang="en-US" sz="1200">
                <a:latin typeface="Calibri" pitchFamily="34" charset="0"/>
              </a:rPr>
              <a:pPr algn="r"/>
              <a:t>10</a:t>
            </a:fld>
            <a:endParaRPr lang="en-US" sz="1200">
              <a:latin typeface="Calibri" pitchFamily="34" charset="0"/>
            </a:endParaRPr>
          </a:p>
        </p:txBody>
      </p:sp>
      <p:sp>
        <p:nvSpPr>
          <p:cNvPr id="56322" name="Rectangle 2"/>
          <p:cNvSpPr>
            <a:spLocks noGrp="1" noRot="1" noChangeAspect="1" noChangeArrowheads="1" noTextEdit="1"/>
          </p:cNvSpPr>
          <p:nvPr>
            <p:ph type="sldImg"/>
          </p:nvPr>
        </p:nvSpPr>
        <p:spPr bwMode="auto">
          <a:xfrm>
            <a:off x="1154113" y="692150"/>
            <a:ext cx="4554537" cy="3416300"/>
          </a:xfrm>
          <a:noFill/>
          <a:ln>
            <a:solidFill>
              <a:srgbClr val="000000"/>
            </a:solidFill>
            <a:miter lim="800000"/>
            <a:headEnd/>
            <a:tailEnd/>
          </a:ln>
        </p:spPr>
      </p:sp>
      <p:sp>
        <p:nvSpPr>
          <p:cNvPr id="56323" name="Rectangle 3"/>
          <p:cNvSpPr>
            <a:spLocks noGrp="1" noChangeArrowheads="1"/>
          </p:cNvSpPr>
          <p:nvPr>
            <p:ph type="body" idx="1"/>
          </p:nvPr>
        </p:nvSpPr>
        <p:spPr bwMode="auto">
          <a:xfrm>
            <a:off x="914400" y="4343400"/>
            <a:ext cx="5029200" cy="4114800"/>
          </a:xfrm>
          <a:noFill/>
        </p:spPr>
        <p:txBody>
          <a:bodyPr wrap="square" lIns="88493" tIns="44247" rIns="88493" bIns="44247" numCol="1" anchor="t" anchorCtr="0" compatLnSpc="1">
            <a:prstTxWarp prst="textNoShape">
              <a:avLst/>
            </a:prstTxWarp>
          </a:bodyPr>
          <a:lstStyle/>
          <a:p>
            <a:pPr>
              <a:spcBef>
                <a:spcPct val="0"/>
              </a:spcBef>
            </a:pPr>
            <a:endParaRPr lang="nl-NL" smtClean="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hyperlink" Target="http://alcs.ma/" TargetMode="External"/><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Line 5"/>
          <p:cNvSpPr>
            <a:spLocks noChangeShapeType="1"/>
          </p:cNvSpPr>
          <p:nvPr/>
        </p:nvSpPr>
        <p:spPr bwMode="auto">
          <a:xfrm flipV="1">
            <a:off x="274638" y="1050925"/>
            <a:ext cx="8594725" cy="0"/>
          </a:xfrm>
          <a:prstGeom prst="line">
            <a:avLst/>
          </a:prstGeom>
          <a:noFill/>
          <a:ln w="9525">
            <a:solidFill>
              <a:schemeClr val="tx1"/>
            </a:solidFill>
            <a:round/>
            <a:headEnd/>
            <a:tailEnd/>
          </a:ln>
          <a:effectLst/>
        </p:spPr>
        <p:txBody>
          <a:bodyPr/>
          <a:lstStyle/>
          <a:p>
            <a:pPr fontAlgn="auto">
              <a:spcBef>
                <a:spcPts val="0"/>
              </a:spcBef>
              <a:spcAft>
                <a:spcPts val="0"/>
              </a:spcAft>
              <a:defRPr/>
            </a:pPr>
            <a:endParaRPr lang="en-US">
              <a:latin typeface="+mn-lt"/>
              <a:cs typeface="+mn-cs"/>
            </a:endParaRPr>
          </a:p>
        </p:txBody>
      </p:sp>
      <p:sp>
        <p:nvSpPr>
          <p:cNvPr id="5" name="Rectangle 6"/>
          <p:cNvSpPr>
            <a:spLocks noChangeArrowheads="1"/>
          </p:cNvSpPr>
          <p:nvPr/>
        </p:nvSpPr>
        <p:spPr bwMode="black">
          <a:xfrm>
            <a:off x="7589838" y="6537325"/>
            <a:ext cx="1371600" cy="184150"/>
          </a:xfrm>
          <a:prstGeom prst="rect">
            <a:avLst/>
          </a:prstGeom>
          <a:noFill/>
          <a:ln w="9525">
            <a:noFill/>
            <a:miter lim="800000"/>
            <a:headEnd/>
            <a:tailEnd/>
          </a:ln>
        </p:spPr>
        <p:txBody>
          <a:bodyPr lIns="92075" tIns="46038" rIns="92075" bIns="46038"/>
          <a:lstStyle/>
          <a:p>
            <a:pPr algn="r">
              <a:defRPr/>
            </a:pPr>
            <a:r>
              <a:rPr lang="en-US" sz="800"/>
              <a:t>© 2014 IBM Corporation</a:t>
            </a:r>
            <a:endParaRPr lang="en-US"/>
          </a:p>
        </p:txBody>
      </p:sp>
      <p:pic>
        <p:nvPicPr>
          <p:cNvPr id="6" name="Picture 18" descr="5300_IBMpos_black_PPT_bkgd"/>
          <p:cNvPicPr>
            <a:picLocks noChangeAspect="1" noChangeArrowheads="1"/>
          </p:cNvPicPr>
          <p:nvPr/>
        </p:nvPicPr>
        <p:blipFill>
          <a:blip r:embed="rId2"/>
          <a:srcRect/>
          <a:stretch>
            <a:fillRect/>
          </a:stretch>
        </p:blipFill>
        <p:spPr bwMode="auto">
          <a:xfrm>
            <a:off x="8280400" y="684213"/>
            <a:ext cx="585788" cy="234950"/>
          </a:xfrm>
          <a:prstGeom prst="rect">
            <a:avLst/>
          </a:prstGeom>
          <a:noFill/>
          <a:ln w="9525">
            <a:noFill/>
            <a:miter lim="800000"/>
            <a:headEnd/>
            <a:tailEnd/>
          </a:ln>
        </p:spPr>
      </p:pic>
      <p:pic>
        <p:nvPicPr>
          <p:cNvPr id="7" name="Picture 11" descr="siteon0">
            <a:hlinkClick r:id="rId3" tooltip="Accueil"/>
          </p:cNvPr>
          <p:cNvPicPr>
            <a:picLocks noChangeAspect="1" noChangeArrowheads="1"/>
          </p:cNvPicPr>
          <p:nvPr userDrawn="1"/>
        </p:nvPicPr>
        <p:blipFill>
          <a:blip r:embed="rId4"/>
          <a:srcRect/>
          <a:stretch>
            <a:fillRect/>
          </a:stretch>
        </p:blipFill>
        <p:spPr bwMode="auto">
          <a:xfrm>
            <a:off x="7232650" y="400050"/>
            <a:ext cx="1047750" cy="895350"/>
          </a:xfrm>
          <a:prstGeom prst="rect">
            <a:avLst/>
          </a:prstGeom>
          <a:noFill/>
          <a:ln w="9525">
            <a:noFill/>
            <a:miter lim="800000"/>
            <a:headEnd/>
            <a:tailEnd/>
          </a:ln>
        </p:spPr>
      </p:pic>
      <p:sp>
        <p:nvSpPr>
          <p:cNvPr id="5123" name="Rectangle 3"/>
          <p:cNvSpPr>
            <a:spLocks noGrp="1" noChangeArrowheads="1"/>
          </p:cNvSpPr>
          <p:nvPr>
            <p:ph type="ctrTitle"/>
          </p:nvPr>
        </p:nvSpPr>
        <p:spPr>
          <a:xfrm>
            <a:off x="139701" y="1417638"/>
            <a:ext cx="5727700" cy="2011362"/>
          </a:xfrm>
        </p:spPr>
        <p:txBody>
          <a:bodyPr anchor="b"/>
          <a:lstStyle>
            <a:lvl1pPr>
              <a:defRPr sz="3500">
                <a:solidFill>
                  <a:schemeClr val="tx1"/>
                </a:solidFill>
              </a:defRPr>
            </a:lvl1pPr>
          </a:lstStyle>
          <a:p>
            <a:r>
              <a:rPr lang="en-US"/>
              <a:t>Click to edit Master title style</a:t>
            </a:r>
          </a:p>
        </p:txBody>
      </p:sp>
      <p:sp>
        <p:nvSpPr>
          <p:cNvPr id="5124" name="Rectangle 4"/>
          <p:cNvSpPr>
            <a:spLocks noGrp="1" noChangeArrowheads="1"/>
          </p:cNvSpPr>
          <p:nvPr>
            <p:ph type="subTitle" idx="1"/>
          </p:nvPr>
        </p:nvSpPr>
        <p:spPr>
          <a:xfrm>
            <a:off x="182563" y="228600"/>
            <a:ext cx="4389437" cy="822325"/>
          </a:xfrm>
        </p:spPr>
        <p:txBody>
          <a:bodyPr anchor="b"/>
          <a:lstStyle>
            <a:lvl1pPr marL="0" indent="0">
              <a:buFont typeface="Wingdings" pitchFamily="2" charset="2"/>
              <a:buNone/>
              <a:defRPr sz="1100"/>
            </a:lvl1pPr>
          </a:lstStyle>
          <a:p>
            <a:r>
              <a:rPr lang="en-US"/>
              <a:t>Click to edit Master sub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7"/>
          <p:cNvSpPr>
            <a:spLocks noGrp="1" noChangeArrowheads="1"/>
          </p:cNvSpPr>
          <p:nvPr>
            <p:ph type="sldNum" sz="quarter" idx="10"/>
          </p:nvPr>
        </p:nvSpPr>
        <p:spPr>
          <a:ln/>
        </p:spPr>
        <p:txBody>
          <a:bodyPr/>
          <a:lstStyle>
            <a:lvl1pPr>
              <a:defRPr/>
            </a:lvl1pPr>
          </a:lstStyle>
          <a:p>
            <a:pPr>
              <a:defRPr/>
            </a:pPr>
            <a:fld id="{5F6AE210-4393-43B2-A216-F58D0FE72713}"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91313" y="593725"/>
            <a:ext cx="2178050" cy="51816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52400" y="593725"/>
            <a:ext cx="6386513" cy="51816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7"/>
          <p:cNvSpPr>
            <a:spLocks noGrp="1" noChangeArrowheads="1"/>
          </p:cNvSpPr>
          <p:nvPr>
            <p:ph type="sldNum" sz="quarter" idx="10"/>
          </p:nvPr>
        </p:nvSpPr>
        <p:spPr>
          <a:ln/>
        </p:spPr>
        <p:txBody>
          <a:bodyPr/>
          <a:lstStyle>
            <a:lvl1pPr>
              <a:defRPr/>
            </a:lvl1pPr>
          </a:lstStyle>
          <a:p>
            <a:pPr>
              <a:defRPr/>
            </a:pPr>
            <a:fld id="{5EC54AB8-E537-4C13-83FC-5EB9A3821F93}"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82563" y="593725"/>
            <a:ext cx="8686800" cy="70167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152400" y="1295400"/>
            <a:ext cx="8686800" cy="4479925"/>
          </a:xfrm>
        </p:spPr>
        <p:txBody>
          <a:bodyPr/>
          <a:lstStyle/>
          <a:p>
            <a:pPr lvl="0"/>
            <a:endParaRPr lang="en-US" noProof="0"/>
          </a:p>
        </p:txBody>
      </p:sp>
      <p:sp>
        <p:nvSpPr>
          <p:cNvPr id="4" name="Rectangle 7"/>
          <p:cNvSpPr>
            <a:spLocks noGrp="1" noChangeArrowheads="1"/>
          </p:cNvSpPr>
          <p:nvPr>
            <p:ph type="sldNum" sz="quarter" idx="10"/>
          </p:nvPr>
        </p:nvSpPr>
        <p:spPr>
          <a:ln/>
        </p:spPr>
        <p:txBody>
          <a:bodyPr/>
          <a:lstStyle>
            <a:lvl1pPr>
              <a:defRPr/>
            </a:lvl1pPr>
          </a:lstStyle>
          <a:p>
            <a:pPr>
              <a:defRPr/>
            </a:pPr>
            <a:fld id="{98FA8850-1D92-49FF-9708-FFC0D7BDA7B8}"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7"/>
          <p:cNvSpPr>
            <a:spLocks noGrp="1" noChangeArrowheads="1"/>
          </p:cNvSpPr>
          <p:nvPr>
            <p:ph type="sldNum" sz="quarter" idx="10"/>
          </p:nvPr>
        </p:nvSpPr>
        <p:spPr>
          <a:ln/>
        </p:spPr>
        <p:txBody>
          <a:bodyPr/>
          <a:lstStyle>
            <a:lvl1pPr>
              <a:defRPr/>
            </a:lvl1pPr>
          </a:lstStyle>
          <a:p>
            <a:pPr>
              <a:defRPr/>
            </a:pPr>
            <a:fld id="{49FE6F71-6F22-409D-A170-ABED5EB4ED85}"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7"/>
          <p:cNvSpPr>
            <a:spLocks noGrp="1" noChangeArrowheads="1"/>
          </p:cNvSpPr>
          <p:nvPr>
            <p:ph type="sldNum" sz="quarter" idx="10"/>
          </p:nvPr>
        </p:nvSpPr>
        <p:spPr>
          <a:ln/>
        </p:spPr>
        <p:txBody>
          <a:bodyPr/>
          <a:lstStyle>
            <a:lvl1pPr>
              <a:defRPr/>
            </a:lvl1pPr>
          </a:lstStyle>
          <a:p>
            <a:pPr>
              <a:defRPr/>
            </a:pPr>
            <a:fld id="{4098D2C4-BD68-4BE6-B218-79FEE567B32E}"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7"/>
          <p:cNvSpPr>
            <a:spLocks noGrp="1" noChangeArrowheads="1"/>
          </p:cNvSpPr>
          <p:nvPr>
            <p:ph type="sldNum" sz="quarter" idx="10"/>
          </p:nvPr>
        </p:nvSpPr>
        <p:spPr>
          <a:ln/>
        </p:spPr>
        <p:txBody>
          <a:bodyPr/>
          <a:lstStyle>
            <a:lvl1pPr>
              <a:defRPr/>
            </a:lvl1pPr>
          </a:lstStyle>
          <a:p>
            <a:pPr>
              <a:defRPr/>
            </a:pPr>
            <a:fld id="{BFA7F168-26BA-4286-8D64-2C89AE8A4B8A}"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52400" y="1295400"/>
            <a:ext cx="4267200" cy="4479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572000" y="1295400"/>
            <a:ext cx="4267200" cy="4479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7"/>
          <p:cNvSpPr>
            <a:spLocks noGrp="1" noChangeArrowheads="1"/>
          </p:cNvSpPr>
          <p:nvPr>
            <p:ph type="sldNum" sz="quarter" idx="10"/>
          </p:nvPr>
        </p:nvSpPr>
        <p:spPr>
          <a:ln/>
        </p:spPr>
        <p:txBody>
          <a:bodyPr/>
          <a:lstStyle>
            <a:lvl1pPr>
              <a:defRPr/>
            </a:lvl1pPr>
          </a:lstStyle>
          <a:p>
            <a:pPr>
              <a:defRPr/>
            </a:pPr>
            <a:fld id="{D6AE62FB-70D7-4A36-AD46-37B8A08B436C}" type="slidenum">
              <a:rPr lang="en-US"/>
              <a:pPr>
                <a:defRPr/>
              </a:pPr>
              <a:t>‹#›</a:t>
            </a:fld>
            <a:endParaRPr lang="en-US"/>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7"/>
          <p:cNvSpPr>
            <a:spLocks noGrp="1" noChangeArrowheads="1"/>
          </p:cNvSpPr>
          <p:nvPr>
            <p:ph type="sldNum" sz="quarter" idx="10"/>
          </p:nvPr>
        </p:nvSpPr>
        <p:spPr>
          <a:ln/>
        </p:spPr>
        <p:txBody>
          <a:bodyPr/>
          <a:lstStyle>
            <a:lvl1pPr>
              <a:defRPr/>
            </a:lvl1pPr>
          </a:lstStyle>
          <a:p>
            <a:pPr>
              <a:defRPr/>
            </a:pPr>
            <a:fld id="{186C51D4-4558-4ACF-8426-683461B49C05}" type="slidenum">
              <a:rPr lang="en-US"/>
              <a:pPr>
                <a:defRPr/>
              </a:pPr>
              <a:t>‹#›</a:t>
            </a:fld>
            <a:endParaRPr lang="en-US"/>
          </a:p>
        </p:txBody>
      </p:sp>
      <p:sp>
        <p:nvSpPr>
          <p:cNvPr id="8"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7"/>
          <p:cNvSpPr>
            <a:spLocks noGrp="1" noChangeArrowheads="1"/>
          </p:cNvSpPr>
          <p:nvPr>
            <p:ph type="sldNum" sz="quarter" idx="10"/>
          </p:nvPr>
        </p:nvSpPr>
        <p:spPr>
          <a:ln/>
        </p:spPr>
        <p:txBody>
          <a:bodyPr/>
          <a:lstStyle>
            <a:lvl1pPr>
              <a:defRPr/>
            </a:lvl1pPr>
          </a:lstStyle>
          <a:p>
            <a:pPr>
              <a:defRPr/>
            </a:pPr>
            <a:fld id="{99C95FF1-1F46-4E91-8AB7-600D6B1AF53B}" type="slidenum">
              <a:rPr lang="en-US"/>
              <a:pPr>
                <a:defRPr/>
              </a:pPr>
              <a:t>‹#›</a:t>
            </a:fld>
            <a:endParaRPr lang="en-US"/>
          </a:p>
        </p:txBody>
      </p:sp>
      <p:sp>
        <p:nvSpPr>
          <p:cNvPr id="4"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7"/>
          <p:cNvSpPr>
            <a:spLocks noGrp="1" noChangeArrowheads="1"/>
          </p:cNvSpPr>
          <p:nvPr>
            <p:ph type="sldNum" sz="quarter" idx="10"/>
          </p:nvPr>
        </p:nvSpPr>
        <p:spPr>
          <a:ln/>
        </p:spPr>
        <p:txBody>
          <a:bodyPr/>
          <a:lstStyle>
            <a:lvl1pPr>
              <a:defRPr/>
            </a:lvl1pPr>
          </a:lstStyle>
          <a:p>
            <a:pPr>
              <a:defRPr/>
            </a:pPr>
            <a:fld id="{F2950AD1-C0D2-47F9-A726-B224B4D65BB5}" type="slidenum">
              <a:rPr lang="en-US"/>
              <a:pPr>
                <a:defRPr/>
              </a:pPr>
              <a:t>‹#›</a:t>
            </a:fld>
            <a:endParaRPr lang="en-US"/>
          </a:p>
        </p:txBody>
      </p:sp>
      <p:sp>
        <p:nvSpPr>
          <p:cNvPr id="3"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a:srcRect/>
          <a:stretch>
            <a:fillRect/>
          </a:stretch>
        </p:blipFill>
        <p:spPr bwMode="auto">
          <a:xfrm>
            <a:off x="6069013" y="142875"/>
            <a:ext cx="1428750" cy="307975"/>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7"/>
          <p:cNvSpPr>
            <a:spLocks noGrp="1" noChangeArrowheads="1"/>
          </p:cNvSpPr>
          <p:nvPr>
            <p:ph type="sldNum" sz="quarter" idx="10"/>
          </p:nvPr>
        </p:nvSpPr>
        <p:spPr/>
        <p:txBody>
          <a:bodyPr/>
          <a:lstStyle>
            <a:lvl1pPr>
              <a:defRPr/>
            </a:lvl1pPr>
          </a:lstStyle>
          <a:p>
            <a:pPr>
              <a:defRPr/>
            </a:pPr>
            <a:fld id="{8827D6B6-A22E-4490-A24B-E39DEFC1E2AF}" type="slidenum">
              <a:rPr lang="en-US"/>
              <a:pPr>
                <a:defRPr/>
              </a:pPr>
              <a:t>‹#›</a:t>
            </a:fld>
            <a:endParaRPr lang="en-US"/>
          </a:p>
        </p:txBody>
      </p:sp>
      <p:sp>
        <p:nvSpPr>
          <p:cNvPr id="6" name="Rectangle 8"/>
          <p:cNvSpPr>
            <a:spLocks noGrp="1" noChangeArrowheads="1"/>
          </p:cNvSpPr>
          <p:nvPr>
            <p:ph type="ftr" sz="quarter" idx="11"/>
          </p:nvPr>
        </p:nvSpPr>
        <p:spPr/>
        <p:txBody>
          <a:bodyPr/>
          <a:lstStyle>
            <a:lvl1pPr>
              <a:defRPr/>
            </a:lvl1pPr>
          </a:lstStyle>
          <a:p>
            <a:pPr>
              <a:defRPr/>
            </a:pPr>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7"/>
          <p:cNvSpPr>
            <a:spLocks noGrp="1" noChangeArrowheads="1"/>
          </p:cNvSpPr>
          <p:nvPr>
            <p:ph type="sldNum" sz="quarter" idx="10"/>
          </p:nvPr>
        </p:nvSpPr>
        <p:spPr>
          <a:ln/>
        </p:spPr>
        <p:txBody>
          <a:bodyPr/>
          <a:lstStyle>
            <a:lvl1pPr>
              <a:defRPr/>
            </a:lvl1pPr>
          </a:lstStyle>
          <a:p>
            <a:pPr>
              <a:defRPr/>
            </a:pPr>
            <a:fld id="{207F78F0-8F0A-49FB-8A9E-903FBC1C97D1}" type="slidenum">
              <a:rPr lang="en-US"/>
              <a:pPr>
                <a:defRPr/>
              </a:pPr>
              <a:t>‹#›</a:t>
            </a:fld>
            <a:endParaRPr lang="en-US"/>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7"/>
          <p:cNvSpPr>
            <a:spLocks noGrp="1" noChangeArrowheads="1"/>
          </p:cNvSpPr>
          <p:nvPr>
            <p:ph type="sldNum" sz="quarter" idx="10"/>
          </p:nvPr>
        </p:nvSpPr>
        <p:spPr>
          <a:ln/>
        </p:spPr>
        <p:txBody>
          <a:bodyPr/>
          <a:lstStyle>
            <a:lvl1pPr>
              <a:defRPr/>
            </a:lvl1pPr>
          </a:lstStyle>
          <a:p>
            <a:pPr>
              <a:defRPr/>
            </a:pPr>
            <a:fld id="{B458AAF1-B7BE-4D1A-A79A-C2C6F1EFC3DA}" type="slidenum">
              <a:rPr lang="en-US"/>
              <a:pPr>
                <a:defRPr/>
              </a:pPr>
              <a:t>‹#›</a:t>
            </a:fld>
            <a:endParaRPr lang="en-US"/>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7"/>
          <p:cNvSpPr>
            <a:spLocks noGrp="1" noChangeArrowheads="1"/>
          </p:cNvSpPr>
          <p:nvPr>
            <p:ph type="sldNum" sz="quarter" idx="10"/>
          </p:nvPr>
        </p:nvSpPr>
        <p:spPr>
          <a:ln/>
        </p:spPr>
        <p:txBody>
          <a:bodyPr/>
          <a:lstStyle>
            <a:lvl1pPr>
              <a:defRPr/>
            </a:lvl1pPr>
          </a:lstStyle>
          <a:p>
            <a:pPr>
              <a:defRPr/>
            </a:pPr>
            <a:fld id="{9CBF82D9-3BA4-4DF1-89ED-20350598A3CB}"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59575" y="593725"/>
            <a:ext cx="2201863" cy="51816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52400" y="593725"/>
            <a:ext cx="6454775" cy="51816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7"/>
          <p:cNvSpPr>
            <a:spLocks noGrp="1" noChangeArrowheads="1"/>
          </p:cNvSpPr>
          <p:nvPr>
            <p:ph type="sldNum" sz="quarter" idx="10"/>
          </p:nvPr>
        </p:nvSpPr>
        <p:spPr>
          <a:ln/>
        </p:spPr>
        <p:txBody>
          <a:bodyPr/>
          <a:lstStyle>
            <a:lvl1pPr>
              <a:defRPr/>
            </a:lvl1pPr>
          </a:lstStyle>
          <a:p>
            <a:pPr>
              <a:defRPr/>
            </a:pPr>
            <a:fld id="{F340FD08-722E-4689-80E8-694469609231}"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7"/>
          <p:cNvSpPr>
            <a:spLocks noGrp="1" noChangeArrowheads="1"/>
          </p:cNvSpPr>
          <p:nvPr>
            <p:ph type="sldNum" sz="quarter" idx="10"/>
          </p:nvPr>
        </p:nvSpPr>
        <p:spPr>
          <a:ln/>
        </p:spPr>
        <p:txBody>
          <a:bodyPr/>
          <a:lstStyle>
            <a:lvl1pPr>
              <a:defRPr/>
            </a:lvl1pPr>
          </a:lstStyle>
          <a:p>
            <a:pPr>
              <a:defRPr/>
            </a:pPr>
            <a:fld id="{D863CCA8-49BF-40E7-BD9F-538EF6B9CE5B}"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7"/>
          <p:cNvSpPr>
            <a:spLocks noGrp="1" noChangeArrowheads="1"/>
          </p:cNvSpPr>
          <p:nvPr>
            <p:ph type="sldNum" sz="quarter" idx="10"/>
          </p:nvPr>
        </p:nvSpPr>
        <p:spPr>
          <a:ln/>
        </p:spPr>
        <p:txBody>
          <a:bodyPr/>
          <a:lstStyle>
            <a:lvl1pPr>
              <a:defRPr/>
            </a:lvl1pPr>
          </a:lstStyle>
          <a:p>
            <a:pPr>
              <a:defRPr/>
            </a:pPr>
            <a:fld id="{53174868-0B3E-425D-BBFA-AC19D3A9488B}"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7"/>
          <p:cNvSpPr>
            <a:spLocks noGrp="1" noChangeArrowheads="1"/>
          </p:cNvSpPr>
          <p:nvPr>
            <p:ph type="sldNum" sz="quarter" idx="10"/>
          </p:nvPr>
        </p:nvSpPr>
        <p:spPr>
          <a:ln/>
        </p:spPr>
        <p:txBody>
          <a:bodyPr/>
          <a:lstStyle>
            <a:lvl1pPr>
              <a:defRPr/>
            </a:lvl1pPr>
          </a:lstStyle>
          <a:p>
            <a:pPr>
              <a:defRPr/>
            </a:pPr>
            <a:fld id="{4D0C4F1B-CA13-4997-AAC4-62852A14E9B7}"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52400" y="1295400"/>
            <a:ext cx="4267200" cy="4479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572000" y="1295400"/>
            <a:ext cx="4267200" cy="4479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7"/>
          <p:cNvSpPr>
            <a:spLocks noGrp="1" noChangeArrowheads="1"/>
          </p:cNvSpPr>
          <p:nvPr>
            <p:ph type="sldNum" sz="quarter" idx="10"/>
          </p:nvPr>
        </p:nvSpPr>
        <p:spPr>
          <a:ln/>
        </p:spPr>
        <p:txBody>
          <a:bodyPr/>
          <a:lstStyle>
            <a:lvl1pPr>
              <a:defRPr/>
            </a:lvl1pPr>
          </a:lstStyle>
          <a:p>
            <a:pPr>
              <a:defRPr/>
            </a:pPr>
            <a:fld id="{A4055BC3-5B87-42D2-9759-4B75633257EB}" type="slidenum">
              <a:rPr lang="en-US"/>
              <a:pPr>
                <a:defRPr/>
              </a:pPr>
              <a:t>‹#›</a:t>
            </a:fld>
            <a:endParaRPr lang="en-US"/>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7"/>
          <p:cNvSpPr>
            <a:spLocks noGrp="1" noChangeArrowheads="1"/>
          </p:cNvSpPr>
          <p:nvPr>
            <p:ph type="sldNum" sz="quarter" idx="10"/>
          </p:nvPr>
        </p:nvSpPr>
        <p:spPr>
          <a:ln/>
        </p:spPr>
        <p:txBody>
          <a:bodyPr/>
          <a:lstStyle>
            <a:lvl1pPr>
              <a:defRPr/>
            </a:lvl1pPr>
          </a:lstStyle>
          <a:p>
            <a:pPr>
              <a:defRPr/>
            </a:pPr>
            <a:fld id="{AEF0CCAD-2CE1-4A57-B36D-44BAB94D251C}" type="slidenum">
              <a:rPr lang="en-US"/>
              <a:pPr>
                <a:defRPr/>
              </a:pPr>
              <a:t>‹#›</a:t>
            </a:fld>
            <a:endParaRPr lang="en-US"/>
          </a:p>
        </p:txBody>
      </p:sp>
      <p:sp>
        <p:nvSpPr>
          <p:cNvPr id="8"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7"/>
          <p:cNvSpPr>
            <a:spLocks noGrp="1" noChangeArrowheads="1"/>
          </p:cNvSpPr>
          <p:nvPr>
            <p:ph type="sldNum" sz="quarter" idx="10"/>
          </p:nvPr>
        </p:nvSpPr>
        <p:spPr>
          <a:ln/>
        </p:spPr>
        <p:txBody>
          <a:bodyPr/>
          <a:lstStyle>
            <a:lvl1pPr>
              <a:defRPr/>
            </a:lvl1pPr>
          </a:lstStyle>
          <a:p>
            <a:pPr>
              <a:defRPr/>
            </a:pPr>
            <a:fld id="{F2AC648A-EB14-4092-BBC0-8EF71A0351A5}" type="slidenum">
              <a:rPr lang="en-US"/>
              <a:pPr>
                <a:defRPr/>
              </a:pPr>
              <a:t>‹#›</a:t>
            </a:fld>
            <a:endParaRPr lang="en-US"/>
          </a:p>
        </p:txBody>
      </p:sp>
      <p:sp>
        <p:nvSpPr>
          <p:cNvPr id="4"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7"/>
          <p:cNvSpPr>
            <a:spLocks noGrp="1" noChangeArrowheads="1"/>
          </p:cNvSpPr>
          <p:nvPr>
            <p:ph type="sldNum" sz="quarter" idx="10"/>
          </p:nvPr>
        </p:nvSpPr>
        <p:spPr>
          <a:ln/>
        </p:spPr>
        <p:txBody>
          <a:bodyPr/>
          <a:lstStyle>
            <a:lvl1pPr>
              <a:defRPr/>
            </a:lvl1pPr>
          </a:lstStyle>
          <a:p>
            <a:pPr>
              <a:defRPr/>
            </a:pPr>
            <a:fld id="{49010372-F997-40F5-B700-713A3D56A109}"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7"/>
          <p:cNvSpPr>
            <a:spLocks noGrp="1" noChangeArrowheads="1"/>
          </p:cNvSpPr>
          <p:nvPr>
            <p:ph type="sldNum" sz="quarter" idx="10"/>
          </p:nvPr>
        </p:nvSpPr>
        <p:spPr>
          <a:ln/>
        </p:spPr>
        <p:txBody>
          <a:bodyPr/>
          <a:lstStyle>
            <a:lvl1pPr>
              <a:defRPr/>
            </a:lvl1pPr>
          </a:lstStyle>
          <a:p>
            <a:pPr>
              <a:defRPr/>
            </a:pPr>
            <a:fld id="{C948F867-5EFC-49B2-BF35-6BC0CEE05882}" type="slidenum">
              <a:rPr lang="en-US"/>
              <a:pPr>
                <a:defRPr/>
              </a:pPr>
              <a:t>‹#›</a:t>
            </a:fld>
            <a:endParaRPr lang="en-US"/>
          </a:p>
        </p:txBody>
      </p:sp>
      <p:sp>
        <p:nvSpPr>
          <p:cNvPr id="3"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7"/>
          <p:cNvSpPr>
            <a:spLocks noGrp="1" noChangeArrowheads="1"/>
          </p:cNvSpPr>
          <p:nvPr>
            <p:ph type="sldNum" sz="quarter" idx="10"/>
          </p:nvPr>
        </p:nvSpPr>
        <p:spPr>
          <a:ln/>
        </p:spPr>
        <p:txBody>
          <a:bodyPr/>
          <a:lstStyle>
            <a:lvl1pPr>
              <a:defRPr/>
            </a:lvl1pPr>
          </a:lstStyle>
          <a:p>
            <a:pPr>
              <a:defRPr/>
            </a:pPr>
            <a:fld id="{747D72C7-E3F1-4C23-A0A0-6F4D31A12FAB}" type="slidenum">
              <a:rPr lang="en-US"/>
              <a:pPr>
                <a:defRPr/>
              </a:pPr>
              <a:t>‹#›</a:t>
            </a:fld>
            <a:endParaRPr lang="en-US"/>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7"/>
          <p:cNvSpPr>
            <a:spLocks noGrp="1" noChangeArrowheads="1"/>
          </p:cNvSpPr>
          <p:nvPr>
            <p:ph type="sldNum" sz="quarter" idx="10"/>
          </p:nvPr>
        </p:nvSpPr>
        <p:spPr>
          <a:ln/>
        </p:spPr>
        <p:txBody>
          <a:bodyPr/>
          <a:lstStyle>
            <a:lvl1pPr>
              <a:defRPr/>
            </a:lvl1pPr>
          </a:lstStyle>
          <a:p>
            <a:pPr>
              <a:defRPr/>
            </a:pPr>
            <a:fld id="{97734582-4C1F-4A57-9BE5-7032FFFB00DA}" type="slidenum">
              <a:rPr lang="en-US"/>
              <a:pPr>
                <a:defRPr/>
              </a:pPr>
              <a:t>‹#›</a:t>
            </a:fld>
            <a:endParaRPr lang="en-US"/>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7"/>
          <p:cNvSpPr>
            <a:spLocks noGrp="1" noChangeArrowheads="1"/>
          </p:cNvSpPr>
          <p:nvPr>
            <p:ph type="sldNum" sz="quarter" idx="10"/>
          </p:nvPr>
        </p:nvSpPr>
        <p:spPr>
          <a:ln/>
        </p:spPr>
        <p:txBody>
          <a:bodyPr/>
          <a:lstStyle>
            <a:lvl1pPr>
              <a:defRPr/>
            </a:lvl1pPr>
          </a:lstStyle>
          <a:p>
            <a:pPr>
              <a:defRPr/>
            </a:pPr>
            <a:fld id="{CF142A3A-2B64-4BB7-994A-859428C11555}"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59575" y="593725"/>
            <a:ext cx="2201863" cy="51816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52400" y="593725"/>
            <a:ext cx="6454775" cy="51816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7"/>
          <p:cNvSpPr>
            <a:spLocks noGrp="1" noChangeArrowheads="1"/>
          </p:cNvSpPr>
          <p:nvPr>
            <p:ph type="sldNum" sz="quarter" idx="10"/>
          </p:nvPr>
        </p:nvSpPr>
        <p:spPr>
          <a:ln/>
        </p:spPr>
        <p:txBody>
          <a:bodyPr/>
          <a:lstStyle>
            <a:lvl1pPr>
              <a:defRPr/>
            </a:lvl1pPr>
          </a:lstStyle>
          <a:p>
            <a:pPr>
              <a:defRPr/>
            </a:pPr>
            <a:fld id="{17F35182-8485-41A6-97D5-0021BE648512}" type="slidenum">
              <a:rPr lang="en-US"/>
              <a:pPr>
                <a:defRPr/>
              </a:pPr>
              <a:t>‹#›</a:t>
            </a:fld>
            <a:endParaRPr lang="en-US"/>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52400" y="1295400"/>
            <a:ext cx="4267200" cy="4479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72000" y="1295400"/>
            <a:ext cx="4267200" cy="4479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7"/>
          <p:cNvSpPr>
            <a:spLocks noGrp="1" noChangeArrowheads="1"/>
          </p:cNvSpPr>
          <p:nvPr>
            <p:ph type="sldNum" sz="quarter" idx="10"/>
          </p:nvPr>
        </p:nvSpPr>
        <p:spPr>
          <a:ln/>
        </p:spPr>
        <p:txBody>
          <a:bodyPr/>
          <a:lstStyle>
            <a:lvl1pPr>
              <a:defRPr/>
            </a:lvl1pPr>
          </a:lstStyle>
          <a:p>
            <a:pPr>
              <a:defRPr/>
            </a:pPr>
            <a:fld id="{26D3EE70-D461-474B-86B7-AD7918AC3E57}" type="slidenum">
              <a:rPr lang="en-US"/>
              <a:pPr>
                <a:defRPr/>
              </a:pPr>
              <a:t>‹#›</a:t>
            </a:fld>
            <a:endParaRPr lang="en-US"/>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7"/>
          <p:cNvSpPr>
            <a:spLocks noGrp="1" noChangeArrowheads="1"/>
          </p:cNvSpPr>
          <p:nvPr>
            <p:ph type="sldNum" sz="quarter" idx="10"/>
          </p:nvPr>
        </p:nvSpPr>
        <p:spPr>
          <a:ln/>
        </p:spPr>
        <p:txBody>
          <a:bodyPr/>
          <a:lstStyle>
            <a:lvl1pPr>
              <a:defRPr/>
            </a:lvl1pPr>
          </a:lstStyle>
          <a:p>
            <a:pPr>
              <a:defRPr/>
            </a:pPr>
            <a:fld id="{B981B697-B7B6-42D2-9131-036C3DEC7241}" type="slidenum">
              <a:rPr lang="en-US"/>
              <a:pPr>
                <a:defRPr/>
              </a:pPr>
              <a:t>‹#›</a:t>
            </a:fld>
            <a:endParaRPr lang="en-US"/>
          </a:p>
        </p:txBody>
      </p:sp>
      <p:sp>
        <p:nvSpPr>
          <p:cNvPr id="8"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7"/>
          <p:cNvSpPr>
            <a:spLocks noGrp="1" noChangeArrowheads="1"/>
          </p:cNvSpPr>
          <p:nvPr>
            <p:ph type="sldNum" sz="quarter" idx="10"/>
          </p:nvPr>
        </p:nvSpPr>
        <p:spPr>
          <a:ln/>
        </p:spPr>
        <p:txBody>
          <a:bodyPr/>
          <a:lstStyle>
            <a:lvl1pPr>
              <a:defRPr/>
            </a:lvl1pPr>
          </a:lstStyle>
          <a:p>
            <a:pPr>
              <a:defRPr/>
            </a:pPr>
            <a:fld id="{BEE41498-9DAC-456F-B256-1891DD41D851}" type="slidenum">
              <a:rPr lang="en-US"/>
              <a:pPr>
                <a:defRPr/>
              </a:pPr>
              <a:t>‹#›</a:t>
            </a:fld>
            <a:endParaRPr lang="en-US"/>
          </a:p>
        </p:txBody>
      </p:sp>
      <p:sp>
        <p:nvSpPr>
          <p:cNvPr id="4"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7"/>
          <p:cNvSpPr>
            <a:spLocks noGrp="1" noChangeArrowheads="1"/>
          </p:cNvSpPr>
          <p:nvPr>
            <p:ph type="sldNum" sz="quarter" idx="10"/>
          </p:nvPr>
        </p:nvSpPr>
        <p:spPr>
          <a:ln/>
        </p:spPr>
        <p:txBody>
          <a:bodyPr/>
          <a:lstStyle>
            <a:lvl1pPr>
              <a:defRPr/>
            </a:lvl1pPr>
          </a:lstStyle>
          <a:p>
            <a:pPr>
              <a:defRPr/>
            </a:pPr>
            <a:fld id="{F74618D6-5361-4798-A5FB-C30DA9C82DED}" type="slidenum">
              <a:rPr lang="en-US"/>
              <a:pPr>
                <a:defRPr/>
              </a:pPr>
              <a:t>‹#›</a:t>
            </a:fld>
            <a:endParaRPr lang="en-US"/>
          </a:p>
        </p:txBody>
      </p:sp>
      <p:sp>
        <p:nvSpPr>
          <p:cNvPr id="3"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7"/>
          <p:cNvSpPr>
            <a:spLocks noGrp="1" noChangeArrowheads="1"/>
          </p:cNvSpPr>
          <p:nvPr>
            <p:ph type="sldNum" sz="quarter" idx="10"/>
          </p:nvPr>
        </p:nvSpPr>
        <p:spPr>
          <a:ln/>
        </p:spPr>
        <p:txBody>
          <a:bodyPr/>
          <a:lstStyle>
            <a:lvl1pPr>
              <a:defRPr/>
            </a:lvl1pPr>
          </a:lstStyle>
          <a:p>
            <a:pPr>
              <a:defRPr/>
            </a:pPr>
            <a:fld id="{2D7529BE-1F85-4ED1-9DAD-29AF12BF01C5}" type="slidenum">
              <a:rPr lang="en-US"/>
              <a:pPr>
                <a:defRPr/>
              </a:pPr>
              <a:t>‹#›</a:t>
            </a:fld>
            <a:endParaRPr lang="en-US"/>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7"/>
          <p:cNvSpPr>
            <a:spLocks noGrp="1" noChangeArrowheads="1"/>
          </p:cNvSpPr>
          <p:nvPr>
            <p:ph type="sldNum" sz="quarter" idx="10"/>
          </p:nvPr>
        </p:nvSpPr>
        <p:spPr>
          <a:ln/>
        </p:spPr>
        <p:txBody>
          <a:bodyPr/>
          <a:lstStyle>
            <a:lvl1pPr>
              <a:defRPr/>
            </a:lvl1pPr>
          </a:lstStyle>
          <a:p>
            <a:pPr>
              <a:defRPr/>
            </a:pPr>
            <a:fld id="{4DE07E01-C1B6-493F-9337-09C66456903E}" type="slidenum">
              <a:rPr lang="en-US"/>
              <a:pPr>
                <a:defRPr/>
              </a:pPr>
              <a:t>‹#›</a:t>
            </a:fld>
            <a:endParaRPr lang="en-US"/>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hyperlink" Target="http://alcs.ma/" TargetMode="Externa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1.jpe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2.png"/><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hyperlink" Target="http://alcs.ma/" TargetMode="Externa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1.jpe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6" Type="http://schemas.openxmlformats.org/officeDocument/2006/relationships/image" Target="../media/image3.png"/><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image" Target="../media/image2.png"/><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hyperlink" Target="http://alcs.ma/"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8610" name="Rectangle 2"/>
          <p:cNvSpPr>
            <a:spLocks noGrp="1" noChangeArrowheads="1"/>
          </p:cNvSpPr>
          <p:nvPr>
            <p:ph type="title"/>
          </p:nvPr>
        </p:nvSpPr>
        <p:spPr bwMode="auto">
          <a:xfrm>
            <a:off x="274638" y="593725"/>
            <a:ext cx="8686800" cy="7016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68611" name="Rectangle 3"/>
          <p:cNvSpPr>
            <a:spLocks noGrp="1" noChangeArrowheads="1"/>
          </p:cNvSpPr>
          <p:nvPr>
            <p:ph type="body" idx="1"/>
          </p:nvPr>
        </p:nvSpPr>
        <p:spPr bwMode="auto">
          <a:xfrm>
            <a:off x="152400" y="1295400"/>
            <a:ext cx="8686800" cy="44799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p:txBody>
      </p:sp>
      <p:sp>
        <p:nvSpPr>
          <p:cNvPr id="4100" name="Line 4"/>
          <p:cNvSpPr>
            <a:spLocks noChangeShapeType="1"/>
          </p:cNvSpPr>
          <p:nvPr/>
        </p:nvSpPr>
        <p:spPr bwMode="auto">
          <a:xfrm flipV="1">
            <a:off x="274638" y="549275"/>
            <a:ext cx="8594725" cy="0"/>
          </a:xfrm>
          <a:prstGeom prst="line">
            <a:avLst/>
          </a:prstGeom>
          <a:noFill/>
          <a:ln w="9525">
            <a:solidFill>
              <a:schemeClr val="tx1"/>
            </a:solidFill>
            <a:round/>
            <a:headEnd/>
            <a:tailEnd/>
          </a:ln>
          <a:effectLst/>
        </p:spPr>
        <p:txBody>
          <a:bodyPr/>
          <a:lstStyle/>
          <a:p>
            <a:pPr fontAlgn="auto">
              <a:spcBef>
                <a:spcPts val="0"/>
              </a:spcBef>
              <a:spcAft>
                <a:spcPts val="0"/>
              </a:spcAft>
              <a:defRPr/>
            </a:pPr>
            <a:endParaRPr lang="en-US" sz="1600">
              <a:latin typeface="+mn-lt"/>
              <a:cs typeface="+mn-cs"/>
            </a:endParaRPr>
          </a:p>
        </p:txBody>
      </p:sp>
      <p:sp>
        <p:nvSpPr>
          <p:cNvPr id="15" name="Rectangle 6"/>
          <p:cNvSpPr>
            <a:spLocks noChangeArrowheads="1"/>
          </p:cNvSpPr>
          <p:nvPr/>
        </p:nvSpPr>
        <p:spPr bwMode="black">
          <a:xfrm>
            <a:off x="7589838" y="6537325"/>
            <a:ext cx="1371600" cy="184150"/>
          </a:xfrm>
          <a:prstGeom prst="rect">
            <a:avLst/>
          </a:prstGeom>
          <a:noFill/>
          <a:ln w="9525">
            <a:noFill/>
            <a:miter lim="800000"/>
            <a:headEnd/>
            <a:tailEnd/>
          </a:ln>
        </p:spPr>
        <p:txBody>
          <a:bodyPr lIns="92075" tIns="46038" rIns="92075" bIns="46038"/>
          <a:lstStyle/>
          <a:p>
            <a:pPr algn="r">
              <a:defRPr/>
            </a:pPr>
            <a:r>
              <a:rPr lang="en-US" sz="800"/>
              <a:t>© 2014 IBM Corporation</a:t>
            </a:r>
            <a:endParaRPr lang="en-US"/>
          </a:p>
        </p:txBody>
      </p:sp>
      <p:sp>
        <p:nvSpPr>
          <p:cNvPr id="16" name="Text Box 46"/>
          <p:cNvSpPr txBox="1">
            <a:spLocks noChangeArrowheads="1"/>
          </p:cNvSpPr>
          <p:nvPr/>
        </p:nvSpPr>
        <p:spPr bwMode="auto">
          <a:xfrm>
            <a:off x="182563" y="136525"/>
            <a:ext cx="7894637" cy="366713"/>
          </a:xfrm>
          <a:prstGeom prst="rect">
            <a:avLst/>
          </a:prstGeom>
          <a:noFill/>
          <a:ln w="9525">
            <a:noFill/>
            <a:miter lim="800000"/>
            <a:headEnd/>
            <a:tailEnd/>
          </a:ln>
        </p:spPr>
        <p:txBody>
          <a:bodyPr tIns="0" bIns="0" anchor="b"/>
          <a:lstStyle/>
          <a:p>
            <a:pPr>
              <a:spcAft>
                <a:spcPts val="900"/>
              </a:spcAft>
              <a:defRPr/>
            </a:pPr>
            <a:r>
              <a:rPr lang="en-US" sz="1200"/>
              <a:t>IBM Corporate Services Corps  - Morocco 5 Team</a:t>
            </a:r>
          </a:p>
        </p:txBody>
      </p:sp>
      <p:sp>
        <p:nvSpPr>
          <p:cNvPr id="4103" name="Rectangle 7"/>
          <p:cNvSpPr>
            <a:spLocks noGrp="1" noChangeArrowheads="1"/>
          </p:cNvSpPr>
          <p:nvPr>
            <p:ph type="sldNum" sz="quarter" idx="4"/>
          </p:nvPr>
        </p:nvSpPr>
        <p:spPr bwMode="black">
          <a:xfrm>
            <a:off x="182563" y="6537325"/>
            <a:ext cx="366712" cy="1841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fontAlgn="auto">
              <a:spcBef>
                <a:spcPts val="0"/>
              </a:spcBef>
              <a:spcAft>
                <a:spcPts val="0"/>
              </a:spcAft>
              <a:defRPr sz="800">
                <a:latin typeface="+mn-lt"/>
                <a:cs typeface="+mn-cs"/>
              </a:defRPr>
            </a:lvl1pPr>
          </a:lstStyle>
          <a:p>
            <a:pPr>
              <a:defRPr/>
            </a:pPr>
            <a:fld id="{D405E0EB-A2B0-4F9B-A6FB-64CEB3A5F971}" type="slidenum">
              <a:rPr lang="en-US"/>
              <a:pPr>
                <a:defRPr/>
              </a:pPr>
              <a:t>‹#›</a:t>
            </a:fld>
            <a:endParaRPr lang="en-US"/>
          </a:p>
        </p:txBody>
      </p:sp>
      <p:sp>
        <p:nvSpPr>
          <p:cNvPr id="4104" name="Rectangle 8"/>
          <p:cNvSpPr>
            <a:spLocks noGrp="1" noChangeArrowheads="1"/>
          </p:cNvSpPr>
          <p:nvPr>
            <p:ph type="ftr" sz="quarter" idx="3"/>
          </p:nvPr>
        </p:nvSpPr>
        <p:spPr bwMode="auto">
          <a:xfrm>
            <a:off x="1554163" y="6537325"/>
            <a:ext cx="5943600" cy="1841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fontAlgn="auto">
              <a:spcBef>
                <a:spcPts val="0"/>
              </a:spcBef>
              <a:spcAft>
                <a:spcPts val="0"/>
              </a:spcAft>
              <a:defRPr sz="800">
                <a:latin typeface="+mn-lt"/>
                <a:cs typeface="+mn-cs"/>
              </a:defRPr>
            </a:lvl1pPr>
          </a:lstStyle>
          <a:p>
            <a:pPr>
              <a:defRPr/>
            </a:pPr>
            <a:endParaRPr lang="en-US"/>
          </a:p>
        </p:txBody>
      </p:sp>
      <p:pic>
        <p:nvPicPr>
          <p:cNvPr id="68617" name="Picture 9" descr="5300_IBMpos_black_PPT_bkgd"/>
          <p:cNvPicPr>
            <a:picLocks noChangeAspect="1" noChangeArrowheads="1"/>
          </p:cNvPicPr>
          <p:nvPr/>
        </p:nvPicPr>
        <p:blipFill>
          <a:blip r:embed="rId14"/>
          <a:srcRect/>
          <a:stretch>
            <a:fillRect/>
          </a:stretch>
        </p:blipFill>
        <p:spPr bwMode="auto">
          <a:xfrm>
            <a:off x="8077200" y="146050"/>
            <a:ext cx="585788" cy="234950"/>
          </a:xfrm>
          <a:prstGeom prst="rect">
            <a:avLst/>
          </a:prstGeom>
          <a:noFill/>
          <a:ln w="9525">
            <a:noFill/>
            <a:miter lim="800000"/>
            <a:headEnd/>
            <a:tailEnd/>
          </a:ln>
        </p:spPr>
      </p:pic>
      <p:sp>
        <p:nvSpPr>
          <p:cNvPr id="27650" name="Rectangle 2"/>
          <p:cNvSpPr>
            <a:spLocks noChangeArrowheads="1"/>
          </p:cNvSpPr>
          <p:nvPr userDrawn="1"/>
        </p:nvSpPr>
        <p:spPr bwMode="auto">
          <a:xfrm>
            <a:off x="0" y="0"/>
            <a:ext cx="9144000" cy="0"/>
          </a:xfrm>
          <a:prstGeom prst="rect">
            <a:avLst/>
          </a:prstGeom>
          <a:noFill/>
          <a:ln w="9525">
            <a:noFill/>
            <a:miter lim="800000"/>
            <a:headEnd/>
            <a:tailEnd/>
          </a:ln>
          <a:effectLst/>
        </p:spPr>
        <p:txBody>
          <a:bodyPr wrap="none" anchor="ctr">
            <a:spAutoFit/>
          </a:bodyPr>
          <a:lstStyle/>
          <a:p>
            <a:pPr fontAlgn="auto">
              <a:spcBef>
                <a:spcPts val="0"/>
              </a:spcBef>
              <a:spcAft>
                <a:spcPts val="0"/>
              </a:spcAft>
              <a:defRPr/>
            </a:pPr>
            <a:endParaRPr lang="en-US">
              <a:latin typeface="+mn-lt"/>
              <a:cs typeface="+mn-cs"/>
            </a:endParaRPr>
          </a:p>
        </p:txBody>
      </p:sp>
      <p:pic>
        <p:nvPicPr>
          <p:cNvPr id="68619" name="Picture 13" descr="siteon0">
            <a:hlinkClick r:id="rId15" tooltip="Accueil"/>
          </p:cNvPr>
          <p:cNvPicPr>
            <a:picLocks noChangeAspect="1" noChangeArrowheads="1"/>
          </p:cNvPicPr>
          <p:nvPr userDrawn="1"/>
        </p:nvPicPr>
        <p:blipFill>
          <a:blip r:embed="rId16"/>
          <a:srcRect/>
          <a:stretch>
            <a:fillRect/>
          </a:stretch>
        </p:blipFill>
        <p:spPr bwMode="auto">
          <a:xfrm>
            <a:off x="7913688" y="593725"/>
            <a:ext cx="1047750" cy="895350"/>
          </a:xfrm>
          <a:prstGeom prst="rect">
            <a:avLst/>
          </a:prstGeom>
          <a:noFill/>
          <a:ln w="9525">
            <a:noFill/>
            <a:miter lim="800000"/>
            <a:headEnd/>
            <a:tailEnd/>
          </a:ln>
        </p:spPr>
      </p:pic>
      <p:pic>
        <p:nvPicPr>
          <p:cNvPr id="68620" name="Picture 2"/>
          <p:cNvPicPr>
            <a:picLocks noChangeAspect="1" noChangeArrowheads="1"/>
          </p:cNvPicPr>
          <p:nvPr userDrawn="1"/>
        </p:nvPicPr>
        <p:blipFill>
          <a:blip r:embed="rId17"/>
          <a:srcRect/>
          <a:stretch>
            <a:fillRect/>
          </a:stretch>
        </p:blipFill>
        <p:spPr bwMode="auto">
          <a:xfrm>
            <a:off x="6069013" y="136525"/>
            <a:ext cx="1428750" cy="3079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99" r:id="rId1"/>
    <p:sldLayoutId id="2147483700" r:id="rId2"/>
    <p:sldLayoutId id="2147483676" r:id="rId3"/>
    <p:sldLayoutId id="2147483675" r:id="rId4"/>
    <p:sldLayoutId id="2147483674" r:id="rId5"/>
    <p:sldLayoutId id="2147483673" r:id="rId6"/>
    <p:sldLayoutId id="2147483672" r:id="rId7"/>
    <p:sldLayoutId id="2147483671" r:id="rId8"/>
    <p:sldLayoutId id="2147483670" r:id="rId9"/>
    <p:sldLayoutId id="2147483669" r:id="rId10"/>
    <p:sldLayoutId id="2147483668" r:id="rId11"/>
    <p:sldLayoutId id="2147483667" r:id="rId12"/>
  </p:sldLayoutIdLst>
  <p:hf hdr="0" ftr="0" dt="0"/>
  <p:txStyles>
    <p:titleStyle>
      <a:lvl1pPr algn="l" rtl="0" eaLnBrk="0" fontAlgn="base" hangingPunct="0">
        <a:lnSpc>
          <a:spcPct val="90000"/>
        </a:lnSpc>
        <a:spcBef>
          <a:spcPct val="0"/>
        </a:spcBef>
        <a:spcAft>
          <a:spcPct val="0"/>
        </a:spcAft>
        <a:defRPr sz="2000">
          <a:solidFill>
            <a:srgbClr val="000000"/>
          </a:solidFill>
          <a:latin typeface="+mj-lt"/>
          <a:ea typeface="+mj-ea"/>
          <a:cs typeface="+mj-cs"/>
        </a:defRPr>
      </a:lvl1pPr>
      <a:lvl2pPr algn="l" rtl="0" eaLnBrk="0" fontAlgn="base" hangingPunct="0">
        <a:lnSpc>
          <a:spcPct val="90000"/>
        </a:lnSpc>
        <a:spcBef>
          <a:spcPct val="0"/>
        </a:spcBef>
        <a:spcAft>
          <a:spcPct val="0"/>
        </a:spcAft>
        <a:defRPr sz="2000">
          <a:solidFill>
            <a:srgbClr val="000000"/>
          </a:solidFill>
          <a:latin typeface="Arial" charset="0"/>
        </a:defRPr>
      </a:lvl2pPr>
      <a:lvl3pPr algn="l" rtl="0" eaLnBrk="0" fontAlgn="base" hangingPunct="0">
        <a:lnSpc>
          <a:spcPct val="90000"/>
        </a:lnSpc>
        <a:spcBef>
          <a:spcPct val="0"/>
        </a:spcBef>
        <a:spcAft>
          <a:spcPct val="0"/>
        </a:spcAft>
        <a:defRPr sz="2000">
          <a:solidFill>
            <a:srgbClr val="000000"/>
          </a:solidFill>
          <a:latin typeface="Arial" charset="0"/>
        </a:defRPr>
      </a:lvl3pPr>
      <a:lvl4pPr algn="l" rtl="0" eaLnBrk="0" fontAlgn="base" hangingPunct="0">
        <a:lnSpc>
          <a:spcPct val="90000"/>
        </a:lnSpc>
        <a:spcBef>
          <a:spcPct val="0"/>
        </a:spcBef>
        <a:spcAft>
          <a:spcPct val="0"/>
        </a:spcAft>
        <a:defRPr sz="2000">
          <a:solidFill>
            <a:srgbClr val="000000"/>
          </a:solidFill>
          <a:latin typeface="Arial" charset="0"/>
        </a:defRPr>
      </a:lvl4pPr>
      <a:lvl5pPr algn="l" rtl="0" eaLnBrk="0" fontAlgn="base" hangingPunct="0">
        <a:lnSpc>
          <a:spcPct val="90000"/>
        </a:lnSpc>
        <a:spcBef>
          <a:spcPct val="0"/>
        </a:spcBef>
        <a:spcAft>
          <a:spcPct val="0"/>
        </a:spcAft>
        <a:defRPr sz="2000">
          <a:solidFill>
            <a:srgbClr val="000000"/>
          </a:solidFill>
          <a:latin typeface="Arial" charset="0"/>
        </a:defRPr>
      </a:lvl5pPr>
      <a:lvl6pPr marL="457200" algn="l" rtl="0" fontAlgn="base">
        <a:lnSpc>
          <a:spcPct val="90000"/>
        </a:lnSpc>
        <a:spcBef>
          <a:spcPct val="0"/>
        </a:spcBef>
        <a:spcAft>
          <a:spcPct val="0"/>
        </a:spcAft>
        <a:defRPr sz="2200">
          <a:solidFill>
            <a:schemeClr val="hlink"/>
          </a:solidFill>
          <a:latin typeface="Arial" charset="0"/>
        </a:defRPr>
      </a:lvl6pPr>
      <a:lvl7pPr marL="914400" algn="l" rtl="0" fontAlgn="base">
        <a:lnSpc>
          <a:spcPct val="90000"/>
        </a:lnSpc>
        <a:spcBef>
          <a:spcPct val="0"/>
        </a:spcBef>
        <a:spcAft>
          <a:spcPct val="0"/>
        </a:spcAft>
        <a:defRPr sz="2200">
          <a:solidFill>
            <a:schemeClr val="hlink"/>
          </a:solidFill>
          <a:latin typeface="Arial" charset="0"/>
        </a:defRPr>
      </a:lvl7pPr>
      <a:lvl8pPr marL="1371600" algn="l" rtl="0" fontAlgn="base">
        <a:lnSpc>
          <a:spcPct val="90000"/>
        </a:lnSpc>
        <a:spcBef>
          <a:spcPct val="0"/>
        </a:spcBef>
        <a:spcAft>
          <a:spcPct val="0"/>
        </a:spcAft>
        <a:defRPr sz="2200">
          <a:solidFill>
            <a:schemeClr val="hlink"/>
          </a:solidFill>
          <a:latin typeface="Arial" charset="0"/>
        </a:defRPr>
      </a:lvl8pPr>
      <a:lvl9pPr marL="1828800" algn="l" rtl="0" fontAlgn="base">
        <a:lnSpc>
          <a:spcPct val="90000"/>
        </a:lnSpc>
        <a:spcBef>
          <a:spcPct val="0"/>
        </a:spcBef>
        <a:spcAft>
          <a:spcPct val="0"/>
        </a:spcAft>
        <a:defRPr sz="2200">
          <a:solidFill>
            <a:schemeClr val="hlink"/>
          </a:solidFill>
          <a:latin typeface="Arial" charset="0"/>
        </a:defRPr>
      </a:lvl9pPr>
    </p:titleStyle>
    <p:bodyStyle>
      <a:lvl1pPr marL="173038" indent="-173038" algn="l" rtl="0" eaLnBrk="0" fontAlgn="base" hangingPunct="0">
        <a:spcBef>
          <a:spcPct val="20000"/>
        </a:spcBef>
        <a:spcAft>
          <a:spcPct val="0"/>
        </a:spcAft>
        <a:buClr>
          <a:schemeClr val="hlink"/>
        </a:buClr>
        <a:buFont typeface="Wingdings" pitchFamily="2" charset="2"/>
        <a:buChar char="§"/>
        <a:defRPr sz="1400">
          <a:solidFill>
            <a:schemeClr val="tx1"/>
          </a:solidFill>
          <a:latin typeface="+mn-lt"/>
          <a:ea typeface="+mn-ea"/>
          <a:cs typeface="+mn-cs"/>
        </a:defRPr>
      </a:lvl1pPr>
      <a:lvl2pPr marL="509588" indent="-163513" algn="l" rtl="0" eaLnBrk="0" fontAlgn="base" hangingPunct="0">
        <a:spcBef>
          <a:spcPct val="20000"/>
        </a:spcBef>
        <a:spcAft>
          <a:spcPct val="0"/>
        </a:spcAft>
        <a:buClr>
          <a:schemeClr val="hlink"/>
        </a:buClr>
        <a:buFont typeface="Arial" charset="0"/>
        <a:buChar char="–"/>
        <a:defRPr sz="1400">
          <a:solidFill>
            <a:schemeClr val="tx1"/>
          </a:solidFill>
          <a:latin typeface="+mn-lt"/>
        </a:defRPr>
      </a:lvl2pPr>
      <a:lvl3pPr marL="855663" indent="-173038" algn="l" rtl="0" eaLnBrk="0" fontAlgn="base" hangingPunct="0">
        <a:spcBef>
          <a:spcPct val="20000"/>
        </a:spcBef>
        <a:spcAft>
          <a:spcPct val="0"/>
        </a:spcAft>
        <a:buClr>
          <a:schemeClr val="hlink"/>
        </a:buClr>
        <a:buChar char="•"/>
        <a:defRPr sz="1400">
          <a:solidFill>
            <a:schemeClr val="tx1"/>
          </a:solidFill>
          <a:latin typeface="+mn-lt"/>
        </a:defRPr>
      </a:lvl3pPr>
      <a:lvl4pPr marL="1203325" indent="-173038" algn="l" rtl="0" eaLnBrk="0" fontAlgn="base" hangingPunct="0">
        <a:spcBef>
          <a:spcPct val="20000"/>
        </a:spcBef>
        <a:spcAft>
          <a:spcPct val="0"/>
        </a:spcAft>
        <a:buClr>
          <a:schemeClr val="bg1"/>
        </a:buClr>
        <a:defRPr sz="1600">
          <a:solidFill>
            <a:schemeClr val="bg1"/>
          </a:solidFill>
          <a:latin typeface="+mn-lt"/>
        </a:defRPr>
      </a:lvl4pPr>
      <a:lvl5pPr marL="1539875" indent="-163513" algn="l" rtl="0" eaLnBrk="0" fontAlgn="base" hangingPunct="0">
        <a:spcBef>
          <a:spcPct val="20000"/>
        </a:spcBef>
        <a:spcAft>
          <a:spcPct val="0"/>
        </a:spcAft>
        <a:buClr>
          <a:schemeClr val="bg1"/>
        </a:buClr>
        <a:buChar char="»"/>
        <a:defRPr sz="1600">
          <a:solidFill>
            <a:schemeClr val="bg1"/>
          </a:solidFill>
          <a:latin typeface="+mn-lt"/>
        </a:defRPr>
      </a:lvl5pPr>
      <a:lvl6pPr marL="1997075" indent="-163513" algn="l" rtl="0" fontAlgn="base">
        <a:spcBef>
          <a:spcPct val="20000"/>
        </a:spcBef>
        <a:spcAft>
          <a:spcPct val="0"/>
        </a:spcAft>
        <a:buClr>
          <a:schemeClr val="bg1"/>
        </a:buClr>
        <a:buChar char="»"/>
        <a:defRPr sz="1600">
          <a:solidFill>
            <a:schemeClr val="bg1"/>
          </a:solidFill>
          <a:latin typeface="+mn-lt"/>
        </a:defRPr>
      </a:lvl6pPr>
      <a:lvl7pPr marL="2454275" indent="-163513" algn="l" rtl="0" fontAlgn="base">
        <a:spcBef>
          <a:spcPct val="20000"/>
        </a:spcBef>
        <a:spcAft>
          <a:spcPct val="0"/>
        </a:spcAft>
        <a:buClr>
          <a:schemeClr val="bg1"/>
        </a:buClr>
        <a:buChar char="»"/>
        <a:defRPr sz="1600">
          <a:solidFill>
            <a:schemeClr val="bg1"/>
          </a:solidFill>
          <a:latin typeface="+mn-lt"/>
        </a:defRPr>
      </a:lvl7pPr>
      <a:lvl8pPr marL="2911475" indent="-163513" algn="l" rtl="0" fontAlgn="base">
        <a:spcBef>
          <a:spcPct val="20000"/>
        </a:spcBef>
        <a:spcAft>
          <a:spcPct val="0"/>
        </a:spcAft>
        <a:buClr>
          <a:schemeClr val="bg1"/>
        </a:buClr>
        <a:buChar char="»"/>
        <a:defRPr sz="1600">
          <a:solidFill>
            <a:schemeClr val="bg1"/>
          </a:solidFill>
          <a:latin typeface="+mn-lt"/>
        </a:defRPr>
      </a:lvl8pPr>
      <a:lvl9pPr marL="3368675" indent="-163513" algn="l" rtl="0" fontAlgn="base">
        <a:spcBef>
          <a:spcPct val="20000"/>
        </a:spcBef>
        <a:spcAft>
          <a:spcPct val="0"/>
        </a:spcAft>
        <a:buClr>
          <a:schemeClr val="bg1"/>
        </a:buClr>
        <a:buChar char="»"/>
        <a:defRPr sz="16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bwMode="auto">
          <a:xfrm>
            <a:off x="274638" y="593725"/>
            <a:ext cx="8686800" cy="7016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14339" name="Rectangle 3"/>
          <p:cNvSpPr>
            <a:spLocks noGrp="1" noChangeArrowheads="1"/>
          </p:cNvSpPr>
          <p:nvPr>
            <p:ph type="body" idx="1"/>
          </p:nvPr>
        </p:nvSpPr>
        <p:spPr bwMode="auto">
          <a:xfrm>
            <a:off x="152400" y="1295400"/>
            <a:ext cx="8686800" cy="44799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p:txBody>
      </p:sp>
      <p:sp>
        <p:nvSpPr>
          <p:cNvPr id="4100" name="Line 4"/>
          <p:cNvSpPr>
            <a:spLocks noChangeShapeType="1"/>
          </p:cNvSpPr>
          <p:nvPr/>
        </p:nvSpPr>
        <p:spPr bwMode="auto">
          <a:xfrm flipV="1">
            <a:off x="274638" y="549275"/>
            <a:ext cx="8594725" cy="0"/>
          </a:xfrm>
          <a:prstGeom prst="line">
            <a:avLst/>
          </a:prstGeom>
          <a:noFill/>
          <a:ln w="9525">
            <a:solidFill>
              <a:schemeClr val="tx1"/>
            </a:solidFill>
            <a:round/>
            <a:headEnd/>
            <a:tailEnd/>
          </a:ln>
          <a:effectLst/>
        </p:spPr>
        <p:txBody>
          <a:bodyPr/>
          <a:lstStyle/>
          <a:p>
            <a:pPr fontAlgn="auto">
              <a:spcBef>
                <a:spcPts val="0"/>
              </a:spcBef>
              <a:spcAft>
                <a:spcPts val="0"/>
              </a:spcAft>
              <a:defRPr/>
            </a:pPr>
            <a:endParaRPr lang="en-US" sz="1600">
              <a:latin typeface="+mn-lt"/>
              <a:cs typeface="+mn-cs"/>
            </a:endParaRPr>
          </a:p>
        </p:txBody>
      </p:sp>
      <p:sp>
        <p:nvSpPr>
          <p:cNvPr id="15" name="Rectangle 6"/>
          <p:cNvSpPr>
            <a:spLocks noChangeArrowheads="1"/>
          </p:cNvSpPr>
          <p:nvPr/>
        </p:nvSpPr>
        <p:spPr bwMode="black">
          <a:xfrm>
            <a:off x="7589838" y="6537325"/>
            <a:ext cx="1371600" cy="184150"/>
          </a:xfrm>
          <a:prstGeom prst="rect">
            <a:avLst/>
          </a:prstGeom>
          <a:noFill/>
          <a:ln w="9525">
            <a:noFill/>
            <a:miter lim="800000"/>
            <a:headEnd/>
            <a:tailEnd/>
          </a:ln>
        </p:spPr>
        <p:txBody>
          <a:bodyPr lIns="92075" tIns="46038" rIns="92075" bIns="46038"/>
          <a:lstStyle/>
          <a:p>
            <a:pPr algn="r">
              <a:defRPr/>
            </a:pPr>
            <a:r>
              <a:rPr lang="en-US" sz="800"/>
              <a:t>© 2014 IBM Corporation</a:t>
            </a:r>
            <a:endParaRPr lang="en-US"/>
          </a:p>
        </p:txBody>
      </p:sp>
      <p:sp>
        <p:nvSpPr>
          <p:cNvPr id="16" name="Text Box 46"/>
          <p:cNvSpPr txBox="1">
            <a:spLocks noChangeArrowheads="1"/>
          </p:cNvSpPr>
          <p:nvPr/>
        </p:nvSpPr>
        <p:spPr bwMode="auto">
          <a:xfrm>
            <a:off x="182563" y="136525"/>
            <a:ext cx="7894637" cy="366713"/>
          </a:xfrm>
          <a:prstGeom prst="rect">
            <a:avLst/>
          </a:prstGeom>
          <a:noFill/>
          <a:ln w="9525">
            <a:noFill/>
            <a:miter lim="800000"/>
            <a:headEnd/>
            <a:tailEnd/>
          </a:ln>
        </p:spPr>
        <p:txBody>
          <a:bodyPr tIns="0" bIns="0" anchor="b"/>
          <a:lstStyle/>
          <a:p>
            <a:pPr>
              <a:spcAft>
                <a:spcPts val="900"/>
              </a:spcAft>
              <a:defRPr/>
            </a:pPr>
            <a:r>
              <a:rPr lang="en-US" sz="1200"/>
              <a:t>IBM Corporate Services Corps  - Morocco 5 Team</a:t>
            </a:r>
          </a:p>
        </p:txBody>
      </p:sp>
      <p:sp>
        <p:nvSpPr>
          <p:cNvPr id="4103" name="Rectangle 7"/>
          <p:cNvSpPr>
            <a:spLocks noGrp="1" noChangeArrowheads="1"/>
          </p:cNvSpPr>
          <p:nvPr>
            <p:ph type="sldNum" sz="quarter" idx="4"/>
          </p:nvPr>
        </p:nvSpPr>
        <p:spPr bwMode="black">
          <a:xfrm>
            <a:off x="182563" y="6537325"/>
            <a:ext cx="366712" cy="1841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fontAlgn="auto">
              <a:spcBef>
                <a:spcPts val="0"/>
              </a:spcBef>
              <a:spcAft>
                <a:spcPts val="0"/>
              </a:spcAft>
              <a:defRPr sz="800">
                <a:latin typeface="+mn-lt"/>
                <a:cs typeface="+mn-cs"/>
              </a:defRPr>
            </a:lvl1pPr>
          </a:lstStyle>
          <a:p>
            <a:pPr>
              <a:defRPr/>
            </a:pPr>
            <a:fld id="{5759AFC3-E625-4A3B-8F2C-C0EAA002B1FF}" type="slidenum">
              <a:rPr lang="en-US"/>
              <a:pPr>
                <a:defRPr/>
              </a:pPr>
              <a:t>‹#›</a:t>
            </a:fld>
            <a:endParaRPr lang="en-US"/>
          </a:p>
        </p:txBody>
      </p:sp>
      <p:sp>
        <p:nvSpPr>
          <p:cNvPr id="4104" name="Rectangle 8"/>
          <p:cNvSpPr>
            <a:spLocks noGrp="1" noChangeArrowheads="1"/>
          </p:cNvSpPr>
          <p:nvPr>
            <p:ph type="ftr" sz="quarter" idx="3"/>
          </p:nvPr>
        </p:nvSpPr>
        <p:spPr bwMode="auto">
          <a:xfrm>
            <a:off x="1554163" y="6537325"/>
            <a:ext cx="5943600" cy="1841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fontAlgn="auto">
              <a:spcBef>
                <a:spcPts val="0"/>
              </a:spcBef>
              <a:spcAft>
                <a:spcPts val="0"/>
              </a:spcAft>
              <a:defRPr sz="800">
                <a:latin typeface="+mn-lt"/>
                <a:cs typeface="+mn-cs"/>
              </a:defRPr>
            </a:lvl1pPr>
          </a:lstStyle>
          <a:p>
            <a:pPr>
              <a:defRPr/>
            </a:pPr>
            <a:endParaRPr lang="en-US"/>
          </a:p>
        </p:txBody>
      </p:sp>
      <p:pic>
        <p:nvPicPr>
          <p:cNvPr id="14345" name="Picture 9" descr="5300_IBMpos_black_PPT_bkgd"/>
          <p:cNvPicPr>
            <a:picLocks noChangeAspect="1" noChangeArrowheads="1"/>
          </p:cNvPicPr>
          <p:nvPr/>
        </p:nvPicPr>
        <p:blipFill>
          <a:blip r:embed="rId13"/>
          <a:srcRect/>
          <a:stretch>
            <a:fillRect/>
          </a:stretch>
        </p:blipFill>
        <p:spPr bwMode="auto">
          <a:xfrm>
            <a:off x="8077200" y="146050"/>
            <a:ext cx="585788" cy="234950"/>
          </a:xfrm>
          <a:prstGeom prst="rect">
            <a:avLst/>
          </a:prstGeom>
          <a:noFill/>
          <a:ln w="9525">
            <a:noFill/>
            <a:miter lim="800000"/>
            <a:headEnd/>
            <a:tailEnd/>
          </a:ln>
        </p:spPr>
      </p:pic>
      <p:sp>
        <p:nvSpPr>
          <p:cNvPr id="27650" name="Rectangle 2"/>
          <p:cNvSpPr>
            <a:spLocks noChangeArrowheads="1"/>
          </p:cNvSpPr>
          <p:nvPr userDrawn="1"/>
        </p:nvSpPr>
        <p:spPr bwMode="auto">
          <a:xfrm>
            <a:off x="0" y="0"/>
            <a:ext cx="9144000" cy="0"/>
          </a:xfrm>
          <a:prstGeom prst="rect">
            <a:avLst/>
          </a:prstGeom>
          <a:noFill/>
          <a:ln w="9525">
            <a:noFill/>
            <a:miter lim="800000"/>
            <a:headEnd/>
            <a:tailEnd/>
          </a:ln>
          <a:effectLst/>
        </p:spPr>
        <p:txBody>
          <a:bodyPr wrap="none" anchor="ctr">
            <a:spAutoFit/>
          </a:bodyPr>
          <a:lstStyle/>
          <a:p>
            <a:pPr fontAlgn="auto">
              <a:spcBef>
                <a:spcPts val="0"/>
              </a:spcBef>
              <a:spcAft>
                <a:spcPts val="0"/>
              </a:spcAft>
              <a:defRPr/>
            </a:pPr>
            <a:endParaRPr lang="en-US">
              <a:latin typeface="+mn-lt"/>
              <a:cs typeface="+mn-cs"/>
            </a:endParaRPr>
          </a:p>
        </p:txBody>
      </p:sp>
      <p:pic>
        <p:nvPicPr>
          <p:cNvPr id="14347" name="Picture 13" descr="siteon0">
            <a:hlinkClick r:id="rId14" tooltip="Accueil"/>
          </p:cNvPr>
          <p:cNvPicPr>
            <a:picLocks noChangeAspect="1" noChangeArrowheads="1"/>
          </p:cNvPicPr>
          <p:nvPr userDrawn="1"/>
        </p:nvPicPr>
        <p:blipFill>
          <a:blip r:embed="rId15"/>
          <a:srcRect/>
          <a:stretch>
            <a:fillRect/>
          </a:stretch>
        </p:blipFill>
        <p:spPr bwMode="auto">
          <a:xfrm>
            <a:off x="7913688" y="593725"/>
            <a:ext cx="1047750" cy="89535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87" r:id="rId1"/>
    <p:sldLayoutId id="2147483686" r:id="rId2"/>
    <p:sldLayoutId id="2147483685" r:id="rId3"/>
    <p:sldLayoutId id="2147483684" r:id="rId4"/>
    <p:sldLayoutId id="2147483683" r:id="rId5"/>
    <p:sldLayoutId id="2147483682" r:id="rId6"/>
    <p:sldLayoutId id="2147483681" r:id="rId7"/>
    <p:sldLayoutId id="2147483680" r:id="rId8"/>
    <p:sldLayoutId id="2147483679" r:id="rId9"/>
    <p:sldLayoutId id="2147483678" r:id="rId10"/>
    <p:sldLayoutId id="2147483677" r:id="rId11"/>
  </p:sldLayoutIdLst>
  <p:hf hdr="0" ftr="0" dt="0"/>
  <p:txStyles>
    <p:titleStyle>
      <a:lvl1pPr algn="l" rtl="0" eaLnBrk="0" fontAlgn="base" hangingPunct="0">
        <a:lnSpc>
          <a:spcPct val="90000"/>
        </a:lnSpc>
        <a:spcBef>
          <a:spcPct val="0"/>
        </a:spcBef>
        <a:spcAft>
          <a:spcPct val="0"/>
        </a:spcAft>
        <a:defRPr sz="2000">
          <a:solidFill>
            <a:srgbClr val="000000"/>
          </a:solidFill>
          <a:latin typeface="+mj-lt"/>
          <a:ea typeface="+mj-ea"/>
          <a:cs typeface="+mj-cs"/>
        </a:defRPr>
      </a:lvl1pPr>
      <a:lvl2pPr algn="l" rtl="0" eaLnBrk="0" fontAlgn="base" hangingPunct="0">
        <a:lnSpc>
          <a:spcPct val="90000"/>
        </a:lnSpc>
        <a:spcBef>
          <a:spcPct val="0"/>
        </a:spcBef>
        <a:spcAft>
          <a:spcPct val="0"/>
        </a:spcAft>
        <a:defRPr sz="2000">
          <a:solidFill>
            <a:srgbClr val="000000"/>
          </a:solidFill>
          <a:latin typeface="Arial" charset="0"/>
          <a:cs typeface="Arial" charset="0"/>
        </a:defRPr>
      </a:lvl2pPr>
      <a:lvl3pPr algn="l" rtl="0" eaLnBrk="0" fontAlgn="base" hangingPunct="0">
        <a:lnSpc>
          <a:spcPct val="90000"/>
        </a:lnSpc>
        <a:spcBef>
          <a:spcPct val="0"/>
        </a:spcBef>
        <a:spcAft>
          <a:spcPct val="0"/>
        </a:spcAft>
        <a:defRPr sz="2000">
          <a:solidFill>
            <a:srgbClr val="000000"/>
          </a:solidFill>
          <a:latin typeface="Arial" charset="0"/>
          <a:cs typeface="Arial" charset="0"/>
        </a:defRPr>
      </a:lvl3pPr>
      <a:lvl4pPr algn="l" rtl="0" eaLnBrk="0" fontAlgn="base" hangingPunct="0">
        <a:lnSpc>
          <a:spcPct val="90000"/>
        </a:lnSpc>
        <a:spcBef>
          <a:spcPct val="0"/>
        </a:spcBef>
        <a:spcAft>
          <a:spcPct val="0"/>
        </a:spcAft>
        <a:defRPr sz="2000">
          <a:solidFill>
            <a:srgbClr val="000000"/>
          </a:solidFill>
          <a:latin typeface="Arial" charset="0"/>
          <a:cs typeface="Arial" charset="0"/>
        </a:defRPr>
      </a:lvl4pPr>
      <a:lvl5pPr algn="l" rtl="0" eaLnBrk="0" fontAlgn="base" hangingPunct="0">
        <a:lnSpc>
          <a:spcPct val="90000"/>
        </a:lnSpc>
        <a:spcBef>
          <a:spcPct val="0"/>
        </a:spcBef>
        <a:spcAft>
          <a:spcPct val="0"/>
        </a:spcAft>
        <a:defRPr sz="2000">
          <a:solidFill>
            <a:srgbClr val="000000"/>
          </a:solidFill>
          <a:latin typeface="Arial" charset="0"/>
          <a:cs typeface="Arial" charset="0"/>
        </a:defRPr>
      </a:lvl5pPr>
      <a:lvl6pPr marL="457200" algn="l" rtl="0" fontAlgn="base">
        <a:lnSpc>
          <a:spcPct val="90000"/>
        </a:lnSpc>
        <a:spcBef>
          <a:spcPct val="0"/>
        </a:spcBef>
        <a:spcAft>
          <a:spcPct val="0"/>
        </a:spcAft>
        <a:defRPr sz="2000">
          <a:solidFill>
            <a:srgbClr val="000000"/>
          </a:solidFill>
          <a:latin typeface="Arial" charset="0"/>
          <a:cs typeface="Arial" charset="0"/>
        </a:defRPr>
      </a:lvl6pPr>
      <a:lvl7pPr marL="914400" algn="l" rtl="0" fontAlgn="base">
        <a:lnSpc>
          <a:spcPct val="90000"/>
        </a:lnSpc>
        <a:spcBef>
          <a:spcPct val="0"/>
        </a:spcBef>
        <a:spcAft>
          <a:spcPct val="0"/>
        </a:spcAft>
        <a:defRPr sz="2000">
          <a:solidFill>
            <a:srgbClr val="000000"/>
          </a:solidFill>
          <a:latin typeface="Arial" charset="0"/>
          <a:cs typeface="Arial" charset="0"/>
        </a:defRPr>
      </a:lvl7pPr>
      <a:lvl8pPr marL="1371600" algn="l" rtl="0" fontAlgn="base">
        <a:lnSpc>
          <a:spcPct val="90000"/>
        </a:lnSpc>
        <a:spcBef>
          <a:spcPct val="0"/>
        </a:spcBef>
        <a:spcAft>
          <a:spcPct val="0"/>
        </a:spcAft>
        <a:defRPr sz="2000">
          <a:solidFill>
            <a:srgbClr val="000000"/>
          </a:solidFill>
          <a:latin typeface="Arial" charset="0"/>
          <a:cs typeface="Arial" charset="0"/>
        </a:defRPr>
      </a:lvl8pPr>
      <a:lvl9pPr marL="1828800" algn="l" rtl="0" fontAlgn="base">
        <a:lnSpc>
          <a:spcPct val="90000"/>
        </a:lnSpc>
        <a:spcBef>
          <a:spcPct val="0"/>
        </a:spcBef>
        <a:spcAft>
          <a:spcPct val="0"/>
        </a:spcAft>
        <a:defRPr sz="2000">
          <a:solidFill>
            <a:srgbClr val="000000"/>
          </a:solidFill>
          <a:latin typeface="Arial" charset="0"/>
          <a:cs typeface="Arial" charset="0"/>
        </a:defRPr>
      </a:lvl9pPr>
    </p:titleStyle>
    <p:bodyStyle>
      <a:lvl1pPr marL="173038" indent="-173038" algn="l" rtl="0" eaLnBrk="0" fontAlgn="base" hangingPunct="0">
        <a:spcBef>
          <a:spcPct val="20000"/>
        </a:spcBef>
        <a:spcAft>
          <a:spcPct val="0"/>
        </a:spcAft>
        <a:buClr>
          <a:schemeClr val="hlink"/>
        </a:buClr>
        <a:buFont typeface="Wingdings" pitchFamily="2" charset="2"/>
        <a:buChar char="§"/>
        <a:defRPr sz="1400">
          <a:solidFill>
            <a:schemeClr val="tx1"/>
          </a:solidFill>
          <a:latin typeface="+mn-lt"/>
          <a:ea typeface="+mn-ea"/>
          <a:cs typeface="+mn-cs"/>
        </a:defRPr>
      </a:lvl1pPr>
      <a:lvl2pPr marL="509588" indent="-163513" algn="l" rtl="0" eaLnBrk="0" fontAlgn="base" hangingPunct="0">
        <a:spcBef>
          <a:spcPct val="20000"/>
        </a:spcBef>
        <a:spcAft>
          <a:spcPct val="0"/>
        </a:spcAft>
        <a:buClr>
          <a:schemeClr val="hlink"/>
        </a:buClr>
        <a:buFont typeface="Arial" charset="0"/>
        <a:buChar char="–"/>
        <a:defRPr sz="1400">
          <a:solidFill>
            <a:schemeClr val="tx1"/>
          </a:solidFill>
          <a:latin typeface="+mn-lt"/>
          <a:cs typeface="+mn-cs"/>
        </a:defRPr>
      </a:lvl2pPr>
      <a:lvl3pPr marL="855663" indent="-173038" algn="l" rtl="0" eaLnBrk="0" fontAlgn="base" hangingPunct="0">
        <a:spcBef>
          <a:spcPct val="20000"/>
        </a:spcBef>
        <a:spcAft>
          <a:spcPct val="0"/>
        </a:spcAft>
        <a:buClr>
          <a:schemeClr val="hlink"/>
        </a:buClr>
        <a:buChar char="•"/>
        <a:defRPr sz="1400">
          <a:solidFill>
            <a:schemeClr val="tx1"/>
          </a:solidFill>
          <a:latin typeface="+mn-lt"/>
          <a:cs typeface="+mn-cs"/>
        </a:defRPr>
      </a:lvl3pPr>
      <a:lvl4pPr marL="1203325" indent="-173038" algn="l" rtl="0" eaLnBrk="0" fontAlgn="base" hangingPunct="0">
        <a:spcBef>
          <a:spcPct val="20000"/>
        </a:spcBef>
        <a:spcAft>
          <a:spcPct val="0"/>
        </a:spcAft>
        <a:buClr>
          <a:schemeClr val="bg1"/>
        </a:buClr>
        <a:defRPr sz="1600">
          <a:solidFill>
            <a:schemeClr val="bg1"/>
          </a:solidFill>
          <a:latin typeface="+mn-lt"/>
          <a:cs typeface="+mn-cs"/>
        </a:defRPr>
      </a:lvl4pPr>
      <a:lvl5pPr marL="1539875" indent="-163513" algn="l" rtl="0" eaLnBrk="0" fontAlgn="base" hangingPunct="0">
        <a:spcBef>
          <a:spcPct val="20000"/>
        </a:spcBef>
        <a:spcAft>
          <a:spcPct val="0"/>
        </a:spcAft>
        <a:buClr>
          <a:schemeClr val="bg1"/>
        </a:buClr>
        <a:buChar char="»"/>
        <a:defRPr sz="1600">
          <a:solidFill>
            <a:schemeClr val="bg1"/>
          </a:solidFill>
          <a:latin typeface="+mn-lt"/>
          <a:cs typeface="+mn-cs"/>
        </a:defRPr>
      </a:lvl5pPr>
      <a:lvl6pPr marL="1997075" indent="-163513" algn="l" rtl="0" fontAlgn="base">
        <a:spcBef>
          <a:spcPct val="20000"/>
        </a:spcBef>
        <a:spcAft>
          <a:spcPct val="0"/>
        </a:spcAft>
        <a:buClr>
          <a:schemeClr val="bg1"/>
        </a:buClr>
        <a:buChar char="»"/>
        <a:defRPr sz="1600">
          <a:solidFill>
            <a:schemeClr val="bg1"/>
          </a:solidFill>
          <a:latin typeface="+mn-lt"/>
          <a:cs typeface="+mn-cs"/>
        </a:defRPr>
      </a:lvl6pPr>
      <a:lvl7pPr marL="2454275" indent="-163513" algn="l" rtl="0" fontAlgn="base">
        <a:spcBef>
          <a:spcPct val="20000"/>
        </a:spcBef>
        <a:spcAft>
          <a:spcPct val="0"/>
        </a:spcAft>
        <a:buClr>
          <a:schemeClr val="bg1"/>
        </a:buClr>
        <a:buChar char="»"/>
        <a:defRPr sz="1600">
          <a:solidFill>
            <a:schemeClr val="bg1"/>
          </a:solidFill>
          <a:latin typeface="+mn-lt"/>
          <a:cs typeface="+mn-cs"/>
        </a:defRPr>
      </a:lvl7pPr>
      <a:lvl8pPr marL="2911475" indent="-163513" algn="l" rtl="0" fontAlgn="base">
        <a:spcBef>
          <a:spcPct val="20000"/>
        </a:spcBef>
        <a:spcAft>
          <a:spcPct val="0"/>
        </a:spcAft>
        <a:buClr>
          <a:schemeClr val="bg1"/>
        </a:buClr>
        <a:buChar char="»"/>
        <a:defRPr sz="1600">
          <a:solidFill>
            <a:schemeClr val="bg1"/>
          </a:solidFill>
          <a:latin typeface="+mn-lt"/>
          <a:cs typeface="+mn-cs"/>
        </a:defRPr>
      </a:lvl8pPr>
      <a:lvl9pPr marL="3368675" indent="-163513" algn="l" rtl="0" fontAlgn="base">
        <a:spcBef>
          <a:spcPct val="20000"/>
        </a:spcBef>
        <a:spcAft>
          <a:spcPct val="0"/>
        </a:spcAft>
        <a:buClr>
          <a:schemeClr val="bg1"/>
        </a:buClr>
        <a:buChar char="»"/>
        <a:defRPr sz="1600">
          <a:solidFill>
            <a:schemeClr val="bg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bwMode="auto">
          <a:xfrm>
            <a:off x="274638" y="593725"/>
            <a:ext cx="8686800" cy="7016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26627" name="Rectangle 3"/>
          <p:cNvSpPr>
            <a:spLocks noGrp="1" noChangeArrowheads="1"/>
          </p:cNvSpPr>
          <p:nvPr>
            <p:ph type="body" idx="1"/>
          </p:nvPr>
        </p:nvSpPr>
        <p:spPr bwMode="auto">
          <a:xfrm>
            <a:off x="152400" y="1295400"/>
            <a:ext cx="8686800" cy="44799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p:txBody>
      </p:sp>
      <p:sp>
        <p:nvSpPr>
          <p:cNvPr id="4100" name="Line 4"/>
          <p:cNvSpPr>
            <a:spLocks noChangeShapeType="1"/>
          </p:cNvSpPr>
          <p:nvPr/>
        </p:nvSpPr>
        <p:spPr bwMode="auto">
          <a:xfrm flipV="1">
            <a:off x="274638" y="549275"/>
            <a:ext cx="8594725" cy="0"/>
          </a:xfrm>
          <a:prstGeom prst="line">
            <a:avLst/>
          </a:prstGeom>
          <a:noFill/>
          <a:ln w="9525">
            <a:solidFill>
              <a:schemeClr val="tx1"/>
            </a:solidFill>
            <a:round/>
            <a:headEnd/>
            <a:tailEnd/>
          </a:ln>
          <a:effectLst/>
        </p:spPr>
        <p:txBody>
          <a:bodyPr/>
          <a:lstStyle/>
          <a:p>
            <a:pPr fontAlgn="auto">
              <a:spcBef>
                <a:spcPts val="0"/>
              </a:spcBef>
              <a:spcAft>
                <a:spcPts val="0"/>
              </a:spcAft>
              <a:defRPr/>
            </a:pPr>
            <a:endParaRPr lang="en-US" sz="1600">
              <a:latin typeface="+mn-lt"/>
              <a:cs typeface="+mn-cs"/>
            </a:endParaRPr>
          </a:p>
        </p:txBody>
      </p:sp>
      <p:sp>
        <p:nvSpPr>
          <p:cNvPr id="15" name="Rectangle 6"/>
          <p:cNvSpPr>
            <a:spLocks noChangeArrowheads="1"/>
          </p:cNvSpPr>
          <p:nvPr/>
        </p:nvSpPr>
        <p:spPr bwMode="black">
          <a:xfrm>
            <a:off x="7589838" y="6537325"/>
            <a:ext cx="1371600" cy="184150"/>
          </a:xfrm>
          <a:prstGeom prst="rect">
            <a:avLst/>
          </a:prstGeom>
          <a:noFill/>
          <a:ln w="9525">
            <a:noFill/>
            <a:miter lim="800000"/>
            <a:headEnd/>
            <a:tailEnd/>
          </a:ln>
        </p:spPr>
        <p:txBody>
          <a:bodyPr lIns="92075" tIns="46038" rIns="92075" bIns="46038"/>
          <a:lstStyle/>
          <a:p>
            <a:pPr algn="r">
              <a:defRPr/>
            </a:pPr>
            <a:r>
              <a:rPr lang="en-US" sz="800"/>
              <a:t>© 2014 IBM Corporation</a:t>
            </a:r>
            <a:endParaRPr lang="en-US"/>
          </a:p>
        </p:txBody>
      </p:sp>
      <p:sp>
        <p:nvSpPr>
          <p:cNvPr id="16" name="Text Box 46"/>
          <p:cNvSpPr txBox="1">
            <a:spLocks noChangeArrowheads="1"/>
          </p:cNvSpPr>
          <p:nvPr/>
        </p:nvSpPr>
        <p:spPr bwMode="auto">
          <a:xfrm>
            <a:off x="182563" y="136525"/>
            <a:ext cx="7894637" cy="366713"/>
          </a:xfrm>
          <a:prstGeom prst="rect">
            <a:avLst/>
          </a:prstGeom>
          <a:noFill/>
          <a:ln w="9525">
            <a:noFill/>
            <a:miter lim="800000"/>
            <a:headEnd/>
            <a:tailEnd/>
          </a:ln>
        </p:spPr>
        <p:txBody>
          <a:bodyPr tIns="0" bIns="0" anchor="b"/>
          <a:lstStyle/>
          <a:p>
            <a:pPr>
              <a:spcAft>
                <a:spcPts val="900"/>
              </a:spcAft>
              <a:defRPr/>
            </a:pPr>
            <a:r>
              <a:rPr lang="en-US" sz="1200"/>
              <a:t>IBM Corporate Services Corps  - Morocco 5 Team</a:t>
            </a:r>
          </a:p>
        </p:txBody>
      </p:sp>
      <p:sp>
        <p:nvSpPr>
          <p:cNvPr id="4103" name="Rectangle 7"/>
          <p:cNvSpPr>
            <a:spLocks noGrp="1" noChangeArrowheads="1"/>
          </p:cNvSpPr>
          <p:nvPr>
            <p:ph type="sldNum" sz="quarter" idx="4"/>
          </p:nvPr>
        </p:nvSpPr>
        <p:spPr bwMode="black">
          <a:xfrm>
            <a:off x="182563" y="6537325"/>
            <a:ext cx="366712" cy="1841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fontAlgn="auto">
              <a:spcBef>
                <a:spcPts val="0"/>
              </a:spcBef>
              <a:spcAft>
                <a:spcPts val="0"/>
              </a:spcAft>
              <a:defRPr sz="800">
                <a:latin typeface="+mn-lt"/>
                <a:cs typeface="+mn-cs"/>
              </a:defRPr>
            </a:lvl1pPr>
          </a:lstStyle>
          <a:p>
            <a:pPr>
              <a:defRPr/>
            </a:pPr>
            <a:fld id="{88473778-6984-4F0B-8998-B736B7BF3AE4}" type="slidenum">
              <a:rPr lang="en-US"/>
              <a:pPr>
                <a:defRPr/>
              </a:pPr>
              <a:t>‹#›</a:t>
            </a:fld>
            <a:endParaRPr lang="en-US"/>
          </a:p>
        </p:txBody>
      </p:sp>
      <p:sp>
        <p:nvSpPr>
          <p:cNvPr id="4104" name="Rectangle 8"/>
          <p:cNvSpPr>
            <a:spLocks noGrp="1" noChangeArrowheads="1"/>
          </p:cNvSpPr>
          <p:nvPr>
            <p:ph type="ftr" sz="quarter" idx="3"/>
          </p:nvPr>
        </p:nvSpPr>
        <p:spPr bwMode="auto">
          <a:xfrm>
            <a:off x="1554163" y="6537325"/>
            <a:ext cx="5943600" cy="1841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fontAlgn="auto">
              <a:spcBef>
                <a:spcPts val="0"/>
              </a:spcBef>
              <a:spcAft>
                <a:spcPts val="0"/>
              </a:spcAft>
              <a:defRPr sz="800">
                <a:latin typeface="+mn-lt"/>
                <a:cs typeface="+mn-cs"/>
              </a:defRPr>
            </a:lvl1pPr>
          </a:lstStyle>
          <a:p>
            <a:pPr>
              <a:defRPr/>
            </a:pPr>
            <a:endParaRPr lang="en-US"/>
          </a:p>
        </p:txBody>
      </p:sp>
      <p:pic>
        <p:nvPicPr>
          <p:cNvPr id="26633" name="Picture 9" descr="5300_IBMpos_black_PPT_bkgd"/>
          <p:cNvPicPr>
            <a:picLocks noChangeAspect="1" noChangeArrowheads="1"/>
          </p:cNvPicPr>
          <p:nvPr/>
        </p:nvPicPr>
        <p:blipFill>
          <a:blip r:embed="rId13"/>
          <a:srcRect/>
          <a:stretch>
            <a:fillRect/>
          </a:stretch>
        </p:blipFill>
        <p:spPr bwMode="auto">
          <a:xfrm>
            <a:off x="8077200" y="146050"/>
            <a:ext cx="585788" cy="234950"/>
          </a:xfrm>
          <a:prstGeom prst="rect">
            <a:avLst/>
          </a:prstGeom>
          <a:noFill/>
          <a:ln w="9525">
            <a:noFill/>
            <a:miter lim="800000"/>
            <a:headEnd/>
            <a:tailEnd/>
          </a:ln>
        </p:spPr>
      </p:pic>
      <p:sp>
        <p:nvSpPr>
          <p:cNvPr id="27650" name="Rectangle 2"/>
          <p:cNvSpPr>
            <a:spLocks noChangeArrowheads="1"/>
          </p:cNvSpPr>
          <p:nvPr userDrawn="1"/>
        </p:nvSpPr>
        <p:spPr bwMode="auto">
          <a:xfrm>
            <a:off x="0" y="0"/>
            <a:ext cx="9144000" cy="0"/>
          </a:xfrm>
          <a:prstGeom prst="rect">
            <a:avLst/>
          </a:prstGeom>
          <a:noFill/>
          <a:ln w="9525">
            <a:noFill/>
            <a:miter lim="800000"/>
            <a:headEnd/>
            <a:tailEnd/>
          </a:ln>
          <a:effectLst/>
        </p:spPr>
        <p:txBody>
          <a:bodyPr wrap="none" anchor="ctr">
            <a:spAutoFit/>
          </a:bodyPr>
          <a:lstStyle/>
          <a:p>
            <a:pPr fontAlgn="auto">
              <a:spcBef>
                <a:spcPts val="0"/>
              </a:spcBef>
              <a:spcAft>
                <a:spcPts val="0"/>
              </a:spcAft>
              <a:defRPr/>
            </a:pPr>
            <a:endParaRPr lang="en-US">
              <a:latin typeface="+mn-lt"/>
              <a:cs typeface="+mn-cs"/>
            </a:endParaRPr>
          </a:p>
        </p:txBody>
      </p:sp>
      <p:pic>
        <p:nvPicPr>
          <p:cNvPr id="26635" name="Picture 13" descr="siteon0">
            <a:hlinkClick r:id="rId14" tooltip="Accueil"/>
          </p:cNvPr>
          <p:cNvPicPr>
            <a:picLocks noChangeAspect="1" noChangeArrowheads="1"/>
          </p:cNvPicPr>
          <p:nvPr userDrawn="1"/>
        </p:nvPicPr>
        <p:blipFill>
          <a:blip r:embed="rId15"/>
          <a:srcRect/>
          <a:stretch>
            <a:fillRect/>
          </a:stretch>
        </p:blipFill>
        <p:spPr bwMode="auto">
          <a:xfrm>
            <a:off x="7913688" y="593725"/>
            <a:ext cx="1047750" cy="895350"/>
          </a:xfrm>
          <a:prstGeom prst="rect">
            <a:avLst/>
          </a:prstGeom>
          <a:noFill/>
          <a:ln w="9525">
            <a:noFill/>
            <a:miter lim="800000"/>
            <a:headEnd/>
            <a:tailEnd/>
          </a:ln>
        </p:spPr>
      </p:pic>
      <p:pic>
        <p:nvPicPr>
          <p:cNvPr id="26636" name="Picture 2"/>
          <p:cNvPicPr>
            <a:picLocks noChangeAspect="1" noChangeArrowheads="1"/>
          </p:cNvPicPr>
          <p:nvPr userDrawn="1"/>
        </p:nvPicPr>
        <p:blipFill>
          <a:blip r:embed="rId16"/>
          <a:srcRect/>
          <a:stretch>
            <a:fillRect/>
          </a:stretch>
        </p:blipFill>
        <p:spPr bwMode="auto">
          <a:xfrm>
            <a:off x="6484938" y="146050"/>
            <a:ext cx="1428750" cy="3079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98" r:id="rId1"/>
    <p:sldLayoutId id="2147483697" r:id="rId2"/>
    <p:sldLayoutId id="2147483696" r:id="rId3"/>
    <p:sldLayoutId id="2147483695" r:id="rId4"/>
    <p:sldLayoutId id="2147483694" r:id="rId5"/>
    <p:sldLayoutId id="2147483693" r:id="rId6"/>
    <p:sldLayoutId id="2147483692" r:id="rId7"/>
    <p:sldLayoutId id="2147483691" r:id="rId8"/>
    <p:sldLayoutId id="2147483690" r:id="rId9"/>
    <p:sldLayoutId id="2147483689" r:id="rId10"/>
    <p:sldLayoutId id="2147483688" r:id="rId11"/>
  </p:sldLayoutIdLst>
  <p:hf hdr="0" ftr="0" dt="0"/>
  <p:txStyles>
    <p:titleStyle>
      <a:lvl1pPr algn="l" rtl="0" eaLnBrk="0" fontAlgn="base" hangingPunct="0">
        <a:lnSpc>
          <a:spcPct val="90000"/>
        </a:lnSpc>
        <a:spcBef>
          <a:spcPct val="0"/>
        </a:spcBef>
        <a:spcAft>
          <a:spcPct val="0"/>
        </a:spcAft>
        <a:defRPr sz="2000">
          <a:solidFill>
            <a:srgbClr val="000000"/>
          </a:solidFill>
          <a:latin typeface="+mj-lt"/>
          <a:ea typeface="+mj-ea"/>
          <a:cs typeface="+mj-cs"/>
        </a:defRPr>
      </a:lvl1pPr>
      <a:lvl2pPr algn="l" rtl="0" eaLnBrk="0" fontAlgn="base" hangingPunct="0">
        <a:lnSpc>
          <a:spcPct val="90000"/>
        </a:lnSpc>
        <a:spcBef>
          <a:spcPct val="0"/>
        </a:spcBef>
        <a:spcAft>
          <a:spcPct val="0"/>
        </a:spcAft>
        <a:defRPr sz="2000">
          <a:solidFill>
            <a:srgbClr val="000000"/>
          </a:solidFill>
          <a:latin typeface="Arial" charset="0"/>
          <a:cs typeface="Arial" charset="0"/>
        </a:defRPr>
      </a:lvl2pPr>
      <a:lvl3pPr algn="l" rtl="0" eaLnBrk="0" fontAlgn="base" hangingPunct="0">
        <a:lnSpc>
          <a:spcPct val="90000"/>
        </a:lnSpc>
        <a:spcBef>
          <a:spcPct val="0"/>
        </a:spcBef>
        <a:spcAft>
          <a:spcPct val="0"/>
        </a:spcAft>
        <a:defRPr sz="2000">
          <a:solidFill>
            <a:srgbClr val="000000"/>
          </a:solidFill>
          <a:latin typeface="Arial" charset="0"/>
          <a:cs typeface="Arial" charset="0"/>
        </a:defRPr>
      </a:lvl3pPr>
      <a:lvl4pPr algn="l" rtl="0" eaLnBrk="0" fontAlgn="base" hangingPunct="0">
        <a:lnSpc>
          <a:spcPct val="90000"/>
        </a:lnSpc>
        <a:spcBef>
          <a:spcPct val="0"/>
        </a:spcBef>
        <a:spcAft>
          <a:spcPct val="0"/>
        </a:spcAft>
        <a:defRPr sz="2000">
          <a:solidFill>
            <a:srgbClr val="000000"/>
          </a:solidFill>
          <a:latin typeface="Arial" charset="0"/>
          <a:cs typeface="Arial" charset="0"/>
        </a:defRPr>
      </a:lvl4pPr>
      <a:lvl5pPr algn="l" rtl="0" eaLnBrk="0" fontAlgn="base" hangingPunct="0">
        <a:lnSpc>
          <a:spcPct val="90000"/>
        </a:lnSpc>
        <a:spcBef>
          <a:spcPct val="0"/>
        </a:spcBef>
        <a:spcAft>
          <a:spcPct val="0"/>
        </a:spcAft>
        <a:defRPr sz="2000">
          <a:solidFill>
            <a:srgbClr val="000000"/>
          </a:solidFill>
          <a:latin typeface="Arial" charset="0"/>
          <a:cs typeface="Arial" charset="0"/>
        </a:defRPr>
      </a:lvl5pPr>
      <a:lvl6pPr marL="457200" algn="l" rtl="0" fontAlgn="base">
        <a:lnSpc>
          <a:spcPct val="90000"/>
        </a:lnSpc>
        <a:spcBef>
          <a:spcPct val="0"/>
        </a:spcBef>
        <a:spcAft>
          <a:spcPct val="0"/>
        </a:spcAft>
        <a:defRPr sz="2000">
          <a:solidFill>
            <a:srgbClr val="000000"/>
          </a:solidFill>
          <a:latin typeface="Arial" charset="0"/>
          <a:cs typeface="Arial" charset="0"/>
        </a:defRPr>
      </a:lvl6pPr>
      <a:lvl7pPr marL="914400" algn="l" rtl="0" fontAlgn="base">
        <a:lnSpc>
          <a:spcPct val="90000"/>
        </a:lnSpc>
        <a:spcBef>
          <a:spcPct val="0"/>
        </a:spcBef>
        <a:spcAft>
          <a:spcPct val="0"/>
        </a:spcAft>
        <a:defRPr sz="2000">
          <a:solidFill>
            <a:srgbClr val="000000"/>
          </a:solidFill>
          <a:latin typeface="Arial" charset="0"/>
          <a:cs typeface="Arial" charset="0"/>
        </a:defRPr>
      </a:lvl7pPr>
      <a:lvl8pPr marL="1371600" algn="l" rtl="0" fontAlgn="base">
        <a:lnSpc>
          <a:spcPct val="90000"/>
        </a:lnSpc>
        <a:spcBef>
          <a:spcPct val="0"/>
        </a:spcBef>
        <a:spcAft>
          <a:spcPct val="0"/>
        </a:spcAft>
        <a:defRPr sz="2000">
          <a:solidFill>
            <a:srgbClr val="000000"/>
          </a:solidFill>
          <a:latin typeface="Arial" charset="0"/>
          <a:cs typeface="Arial" charset="0"/>
        </a:defRPr>
      </a:lvl8pPr>
      <a:lvl9pPr marL="1828800" algn="l" rtl="0" fontAlgn="base">
        <a:lnSpc>
          <a:spcPct val="90000"/>
        </a:lnSpc>
        <a:spcBef>
          <a:spcPct val="0"/>
        </a:spcBef>
        <a:spcAft>
          <a:spcPct val="0"/>
        </a:spcAft>
        <a:defRPr sz="2000">
          <a:solidFill>
            <a:srgbClr val="000000"/>
          </a:solidFill>
          <a:latin typeface="Arial" charset="0"/>
          <a:cs typeface="Arial" charset="0"/>
        </a:defRPr>
      </a:lvl9pPr>
    </p:titleStyle>
    <p:bodyStyle>
      <a:lvl1pPr marL="173038" indent="-173038" algn="l" rtl="0" eaLnBrk="0" fontAlgn="base" hangingPunct="0">
        <a:spcBef>
          <a:spcPct val="20000"/>
        </a:spcBef>
        <a:spcAft>
          <a:spcPct val="0"/>
        </a:spcAft>
        <a:buClr>
          <a:schemeClr val="hlink"/>
        </a:buClr>
        <a:buFont typeface="Wingdings" pitchFamily="2" charset="2"/>
        <a:buChar char="§"/>
        <a:defRPr sz="1400">
          <a:solidFill>
            <a:schemeClr val="tx1"/>
          </a:solidFill>
          <a:latin typeface="+mn-lt"/>
          <a:ea typeface="+mn-ea"/>
          <a:cs typeface="+mn-cs"/>
        </a:defRPr>
      </a:lvl1pPr>
      <a:lvl2pPr marL="509588" indent="-163513" algn="l" rtl="0" eaLnBrk="0" fontAlgn="base" hangingPunct="0">
        <a:spcBef>
          <a:spcPct val="20000"/>
        </a:spcBef>
        <a:spcAft>
          <a:spcPct val="0"/>
        </a:spcAft>
        <a:buClr>
          <a:schemeClr val="hlink"/>
        </a:buClr>
        <a:buFont typeface="Arial" charset="0"/>
        <a:buChar char="–"/>
        <a:defRPr sz="1400">
          <a:solidFill>
            <a:schemeClr val="tx1"/>
          </a:solidFill>
          <a:latin typeface="+mn-lt"/>
          <a:cs typeface="+mn-cs"/>
        </a:defRPr>
      </a:lvl2pPr>
      <a:lvl3pPr marL="855663" indent="-173038" algn="l" rtl="0" eaLnBrk="0" fontAlgn="base" hangingPunct="0">
        <a:spcBef>
          <a:spcPct val="20000"/>
        </a:spcBef>
        <a:spcAft>
          <a:spcPct val="0"/>
        </a:spcAft>
        <a:buClr>
          <a:schemeClr val="hlink"/>
        </a:buClr>
        <a:buChar char="•"/>
        <a:defRPr sz="1400">
          <a:solidFill>
            <a:schemeClr val="tx1"/>
          </a:solidFill>
          <a:latin typeface="+mn-lt"/>
          <a:cs typeface="+mn-cs"/>
        </a:defRPr>
      </a:lvl3pPr>
      <a:lvl4pPr marL="1203325" indent="-173038" algn="l" rtl="0" eaLnBrk="0" fontAlgn="base" hangingPunct="0">
        <a:spcBef>
          <a:spcPct val="20000"/>
        </a:spcBef>
        <a:spcAft>
          <a:spcPct val="0"/>
        </a:spcAft>
        <a:buClr>
          <a:schemeClr val="bg1"/>
        </a:buClr>
        <a:defRPr sz="1600">
          <a:solidFill>
            <a:schemeClr val="bg1"/>
          </a:solidFill>
          <a:latin typeface="+mn-lt"/>
          <a:cs typeface="+mn-cs"/>
        </a:defRPr>
      </a:lvl4pPr>
      <a:lvl5pPr marL="1539875" indent="-163513" algn="l" rtl="0" eaLnBrk="0" fontAlgn="base" hangingPunct="0">
        <a:spcBef>
          <a:spcPct val="20000"/>
        </a:spcBef>
        <a:spcAft>
          <a:spcPct val="0"/>
        </a:spcAft>
        <a:buClr>
          <a:schemeClr val="bg1"/>
        </a:buClr>
        <a:buChar char="»"/>
        <a:defRPr sz="1600">
          <a:solidFill>
            <a:schemeClr val="bg1"/>
          </a:solidFill>
          <a:latin typeface="+mn-lt"/>
          <a:cs typeface="+mn-cs"/>
        </a:defRPr>
      </a:lvl5pPr>
      <a:lvl6pPr marL="1997075" indent="-163513" algn="l" rtl="0" fontAlgn="base">
        <a:spcBef>
          <a:spcPct val="20000"/>
        </a:spcBef>
        <a:spcAft>
          <a:spcPct val="0"/>
        </a:spcAft>
        <a:buClr>
          <a:schemeClr val="bg1"/>
        </a:buClr>
        <a:buChar char="»"/>
        <a:defRPr sz="1600">
          <a:solidFill>
            <a:schemeClr val="bg1"/>
          </a:solidFill>
          <a:latin typeface="+mn-lt"/>
          <a:cs typeface="+mn-cs"/>
        </a:defRPr>
      </a:lvl6pPr>
      <a:lvl7pPr marL="2454275" indent="-163513" algn="l" rtl="0" fontAlgn="base">
        <a:spcBef>
          <a:spcPct val="20000"/>
        </a:spcBef>
        <a:spcAft>
          <a:spcPct val="0"/>
        </a:spcAft>
        <a:buClr>
          <a:schemeClr val="bg1"/>
        </a:buClr>
        <a:buChar char="»"/>
        <a:defRPr sz="1600">
          <a:solidFill>
            <a:schemeClr val="bg1"/>
          </a:solidFill>
          <a:latin typeface="+mn-lt"/>
          <a:cs typeface="+mn-cs"/>
        </a:defRPr>
      </a:lvl7pPr>
      <a:lvl8pPr marL="2911475" indent="-163513" algn="l" rtl="0" fontAlgn="base">
        <a:spcBef>
          <a:spcPct val="20000"/>
        </a:spcBef>
        <a:spcAft>
          <a:spcPct val="0"/>
        </a:spcAft>
        <a:buClr>
          <a:schemeClr val="bg1"/>
        </a:buClr>
        <a:buChar char="»"/>
        <a:defRPr sz="1600">
          <a:solidFill>
            <a:schemeClr val="bg1"/>
          </a:solidFill>
          <a:latin typeface="+mn-lt"/>
          <a:cs typeface="+mn-cs"/>
        </a:defRPr>
      </a:lvl8pPr>
      <a:lvl9pPr marL="3368675" indent="-163513" algn="l" rtl="0" fontAlgn="base">
        <a:spcBef>
          <a:spcPct val="20000"/>
        </a:spcBef>
        <a:spcAft>
          <a:spcPct val="0"/>
        </a:spcAft>
        <a:buClr>
          <a:schemeClr val="bg1"/>
        </a:buClr>
        <a:buChar char="»"/>
        <a:defRPr sz="1600">
          <a:solidFill>
            <a:schemeClr val="bg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Layout" Target="../slideLayouts/slideLayout1.xml"/><Relationship Id="rId1" Type="http://schemas.openxmlformats.org/officeDocument/2006/relationships/tags" Target="../tags/tag1.xml"/><Relationship Id="rId5" Type="http://schemas.openxmlformats.org/officeDocument/2006/relationships/image" Target="../media/image3.png"/><Relationship Id="rId4" Type="http://schemas.openxmlformats.org/officeDocument/2006/relationships/image" Target="../media/image5.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8" Type="http://schemas.openxmlformats.org/officeDocument/2006/relationships/tags" Target="../tags/tag19.xml"/><Relationship Id="rId3" Type="http://schemas.openxmlformats.org/officeDocument/2006/relationships/tags" Target="../tags/tag14.xml"/><Relationship Id="rId7" Type="http://schemas.openxmlformats.org/officeDocument/2006/relationships/tags" Target="../tags/tag18.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slideLayout" Target="../slideLayouts/slideLayout7.xml"/><Relationship Id="rId5" Type="http://schemas.openxmlformats.org/officeDocument/2006/relationships/tags" Target="../tags/tag16.xml"/><Relationship Id="rId10" Type="http://schemas.openxmlformats.org/officeDocument/2006/relationships/tags" Target="../tags/tag21.xml"/><Relationship Id="rId4" Type="http://schemas.openxmlformats.org/officeDocument/2006/relationships/tags" Target="../tags/tag15.xml"/><Relationship Id="rId9" Type="http://schemas.openxmlformats.org/officeDocument/2006/relationships/tags" Target="../tags/tag2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slideLayout" Target="../slideLayouts/slideLayout7.xml"/><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tags" Target="../tags/tag3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tags" Target="../tags/tag32.xml"/><Relationship Id="rId5" Type="http://schemas.openxmlformats.org/officeDocument/2006/relationships/tags" Target="../tags/tag26.xml"/><Relationship Id="rId10" Type="http://schemas.openxmlformats.org/officeDocument/2006/relationships/tags" Target="../tags/tag31.xml"/><Relationship Id="rId4" Type="http://schemas.openxmlformats.org/officeDocument/2006/relationships/tags" Target="../tags/tag25.xml"/><Relationship Id="rId9" Type="http://schemas.openxmlformats.org/officeDocument/2006/relationships/tags" Target="../tags/tag3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12.jpeg"/><Relationship Id="rId13" Type="http://schemas.openxmlformats.org/officeDocument/2006/relationships/image" Target="../media/image17.jpeg"/><Relationship Id="rId18" Type="http://schemas.openxmlformats.org/officeDocument/2006/relationships/image" Target="../media/image22.jpeg"/><Relationship Id="rId26" Type="http://schemas.openxmlformats.org/officeDocument/2006/relationships/image" Target="../media/image29.jpeg"/><Relationship Id="rId3" Type="http://schemas.openxmlformats.org/officeDocument/2006/relationships/image" Target="../media/image7.jpeg"/><Relationship Id="rId21" Type="http://schemas.openxmlformats.org/officeDocument/2006/relationships/image" Target="../media/image5.jpeg"/><Relationship Id="rId34" Type="http://schemas.openxmlformats.org/officeDocument/2006/relationships/image" Target="../media/image37.jpeg"/><Relationship Id="rId7" Type="http://schemas.openxmlformats.org/officeDocument/2006/relationships/image" Target="../media/image11.jpeg"/><Relationship Id="rId12" Type="http://schemas.openxmlformats.org/officeDocument/2006/relationships/image" Target="../media/image16.jpeg"/><Relationship Id="rId17" Type="http://schemas.openxmlformats.org/officeDocument/2006/relationships/image" Target="../media/image21.jpeg"/><Relationship Id="rId25" Type="http://schemas.openxmlformats.org/officeDocument/2006/relationships/image" Target="../media/image28.jpeg"/><Relationship Id="rId33" Type="http://schemas.openxmlformats.org/officeDocument/2006/relationships/image" Target="../media/image36.jpeg"/><Relationship Id="rId2" Type="http://schemas.openxmlformats.org/officeDocument/2006/relationships/image" Target="../media/image6.png"/><Relationship Id="rId16" Type="http://schemas.openxmlformats.org/officeDocument/2006/relationships/image" Target="../media/image20.jpeg"/><Relationship Id="rId20" Type="http://schemas.openxmlformats.org/officeDocument/2006/relationships/image" Target="../media/image24.jpeg"/><Relationship Id="rId29" Type="http://schemas.openxmlformats.org/officeDocument/2006/relationships/image" Target="../media/image32.jpeg"/><Relationship Id="rId1" Type="http://schemas.openxmlformats.org/officeDocument/2006/relationships/slideLayout" Target="../slideLayouts/slideLayout1.xml"/><Relationship Id="rId6" Type="http://schemas.openxmlformats.org/officeDocument/2006/relationships/image" Target="../media/image10.jpeg"/><Relationship Id="rId11" Type="http://schemas.openxmlformats.org/officeDocument/2006/relationships/image" Target="../media/image15.jpeg"/><Relationship Id="rId24" Type="http://schemas.openxmlformats.org/officeDocument/2006/relationships/image" Target="../media/image27.jpeg"/><Relationship Id="rId32" Type="http://schemas.openxmlformats.org/officeDocument/2006/relationships/image" Target="../media/image35.png"/><Relationship Id="rId5" Type="http://schemas.openxmlformats.org/officeDocument/2006/relationships/image" Target="../media/image9.jpeg"/><Relationship Id="rId15" Type="http://schemas.openxmlformats.org/officeDocument/2006/relationships/image" Target="../media/image19.jpeg"/><Relationship Id="rId23" Type="http://schemas.openxmlformats.org/officeDocument/2006/relationships/image" Target="../media/image26.jpeg"/><Relationship Id="rId28" Type="http://schemas.openxmlformats.org/officeDocument/2006/relationships/image" Target="../media/image31.jpeg"/><Relationship Id="rId10" Type="http://schemas.openxmlformats.org/officeDocument/2006/relationships/image" Target="../media/image14.jpeg"/><Relationship Id="rId19" Type="http://schemas.openxmlformats.org/officeDocument/2006/relationships/image" Target="../media/image23.jpeg"/><Relationship Id="rId31" Type="http://schemas.openxmlformats.org/officeDocument/2006/relationships/image" Target="../media/image34.jpeg"/><Relationship Id="rId4" Type="http://schemas.openxmlformats.org/officeDocument/2006/relationships/image" Target="../media/image8.jpeg"/><Relationship Id="rId9" Type="http://schemas.openxmlformats.org/officeDocument/2006/relationships/image" Target="../media/image13.jpeg"/><Relationship Id="rId14" Type="http://schemas.openxmlformats.org/officeDocument/2006/relationships/image" Target="../media/image18.jpeg"/><Relationship Id="rId22" Type="http://schemas.openxmlformats.org/officeDocument/2006/relationships/image" Target="../media/image25.jpeg"/><Relationship Id="rId27" Type="http://schemas.openxmlformats.org/officeDocument/2006/relationships/image" Target="../media/image30.jpeg"/><Relationship Id="rId30" Type="http://schemas.openxmlformats.org/officeDocument/2006/relationships/image" Target="../media/image33.png"/><Relationship Id="rId35" Type="http://schemas.openxmlformats.org/officeDocument/2006/relationships/image" Target="../media/image3.png"/></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vmlDrawing" Target="../drawings/vmlDrawing1.v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vmlDrawing" Target="../drawings/vmlDrawing2.v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image" Target="../media/image49.png"/><Relationship Id="rId1" Type="http://schemas.openxmlformats.org/officeDocument/2006/relationships/slideLayout" Target="../slideLayouts/slideLayout2.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31.xml.rels><?xml version="1.0" encoding="UTF-8" standalone="yes"?>
<Relationships xmlns="http://schemas.openxmlformats.org/package/2006/relationships"><Relationship Id="rId2" Type="http://schemas.openxmlformats.org/officeDocument/2006/relationships/image" Target="../media/image55.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8" Type="http://schemas.openxmlformats.org/officeDocument/2006/relationships/tags" Target="../tags/tag41.xml"/><Relationship Id="rId3" Type="http://schemas.openxmlformats.org/officeDocument/2006/relationships/tags" Target="../tags/tag36.xml"/><Relationship Id="rId7" Type="http://schemas.openxmlformats.org/officeDocument/2006/relationships/tags" Target="../tags/tag40.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slideLayout" Target="../slideLayouts/slideLayout7.xml"/><Relationship Id="rId5" Type="http://schemas.openxmlformats.org/officeDocument/2006/relationships/tags" Target="../tags/tag38.xml"/><Relationship Id="rId10" Type="http://schemas.openxmlformats.org/officeDocument/2006/relationships/tags" Target="../tags/tag43.xml"/><Relationship Id="rId4" Type="http://schemas.openxmlformats.org/officeDocument/2006/relationships/tags" Target="../tags/tag37.xml"/><Relationship Id="rId9" Type="http://schemas.openxmlformats.org/officeDocument/2006/relationships/tags" Target="../tags/tag42.xml"/></Relationships>
</file>

<file path=ppt/slides/_rels/slide43.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8" Type="http://schemas.openxmlformats.org/officeDocument/2006/relationships/tags" Target="../tags/tag51.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tags" Target="../tags/tag49.xml"/><Relationship Id="rId11" Type="http://schemas.openxmlformats.org/officeDocument/2006/relationships/slideLayout" Target="../slideLayouts/slideLayout7.xml"/><Relationship Id="rId5" Type="http://schemas.openxmlformats.org/officeDocument/2006/relationships/tags" Target="../tags/tag48.xml"/><Relationship Id="rId10" Type="http://schemas.openxmlformats.org/officeDocument/2006/relationships/tags" Target="../tags/tag53.xml"/><Relationship Id="rId4" Type="http://schemas.openxmlformats.org/officeDocument/2006/relationships/tags" Target="../tags/tag47.xml"/><Relationship Id="rId9" Type="http://schemas.openxmlformats.org/officeDocument/2006/relationships/tags" Target="../tags/tag5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7.xml.rels><?xml version="1.0" encoding="UTF-8" standalone="yes"?>
<Relationships xmlns="http://schemas.openxmlformats.org/package/2006/relationships"><Relationship Id="rId3" Type="http://schemas.openxmlformats.org/officeDocument/2006/relationships/hyperlink" Target="http://www.microsoft.com/about/corporatecitizenship/en-us/office365-for-nonprofits/" TargetMode="External"/><Relationship Id="rId2" Type="http://schemas.openxmlformats.org/officeDocument/2006/relationships/hyperlink" Target="http://www.exoplatform.com/" TargetMode="External"/><Relationship Id="rId1" Type="http://schemas.openxmlformats.org/officeDocument/2006/relationships/slideLayout" Target="../slideLayouts/slideLayout25.xml"/><Relationship Id="rId4" Type="http://schemas.openxmlformats.org/officeDocument/2006/relationships/hyperlink" Target="http://www.google.com/nonprofits/products/" TargetMode="External"/></Relationships>
</file>

<file path=ppt/slides/_rels/slide48.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Layout" Target="../slideLayouts/slideLayout30.xml"/></Relationships>
</file>

<file path=ppt/slides/_rels/slide4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Layout" Target="../slideLayouts/slideLayout30.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8" Type="http://schemas.openxmlformats.org/officeDocument/2006/relationships/tags" Target="../tags/tag61.xml"/><Relationship Id="rId3" Type="http://schemas.openxmlformats.org/officeDocument/2006/relationships/tags" Target="../tags/tag56.xml"/><Relationship Id="rId7" Type="http://schemas.openxmlformats.org/officeDocument/2006/relationships/tags" Target="../tags/tag60.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tags" Target="../tags/tag59.xml"/><Relationship Id="rId11" Type="http://schemas.openxmlformats.org/officeDocument/2006/relationships/slideLayout" Target="../slideLayouts/slideLayout19.xml"/><Relationship Id="rId5" Type="http://schemas.openxmlformats.org/officeDocument/2006/relationships/tags" Target="../tags/tag58.xml"/><Relationship Id="rId10" Type="http://schemas.openxmlformats.org/officeDocument/2006/relationships/tags" Target="../tags/tag63.xml"/><Relationship Id="rId4" Type="http://schemas.openxmlformats.org/officeDocument/2006/relationships/tags" Target="../tags/tag57.xml"/><Relationship Id="rId9" Type="http://schemas.openxmlformats.org/officeDocument/2006/relationships/tags" Target="../tags/tag6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jpeg"/><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41.jpeg"/><Relationship Id="rId5" Type="http://schemas.openxmlformats.org/officeDocument/2006/relationships/image" Target="../media/image40.jpeg"/><Relationship Id="rId4" Type="http://schemas.openxmlformats.org/officeDocument/2006/relationships/image" Target="../media/image39.jpeg"/></Relationships>
</file>

<file path=ppt/slides/_rels/slide8.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tags" Target="../tags/tag4.xml"/><Relationship Id="rId7" Type="http://schemas.openxmlformats.org/officeDocument/2006/relationships/tags" Target="../tags/tag8.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slideLayout" Target="../slideLayouts/slideLayout1.xml"/><Relationship Id="rId5" Type="http://schemas.openxmlformats.org/officeDocument/2006/relationships/tags" Target="../tags/tag6.xml"/><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Title 1"/>
          <p:cNvSpPr>
            <a:spLocks noGrp="1"/>
          </p:cNvSpPr>
          <p:nvPr>
            <p:ph type="ctrTitle"/>
          </p:nvPr>
        </p:nvSpPr>
        <p:spPr>
          <a:xfrm>
            <a:off x="139700" y="1951038"/>
            <a:ext cx="8840788" cy="2011362"/>
          </a:xfrm>
        </p:spPr>
        <p:txBody>
          <a:bodyPr/>
          <a:lstStyle/>
          <a:p>
            <a:pPr eaLnBrk="1" hangingPunct="1"/>
            <a:r>
              <a:rPr lang="en-US" sz="2800" smtClean="0"/>
              <a:t>IT Solutions for Business Impact and Sustainability</a:t>
            </a:r>
            <a:r>
              <a:rPr lang="en-US" sz="3200" smtClean="0"/>
              <a:t> </a:t>
            </a:r>
            <a:r>
              <a:rPr lang="en-US" sz="2400" i="1" smtClean="0"/>
              <a:t>Association </a:t>
            </a:r>
            <a:r>
              <a:rPr lang="en-US" sz="2400" i="1" smtClean="0">
                <a:solidFill>
                  <a:srgbClr val="FF0000"/>
                </a:solidFill>
              </a:rPr>
              <a:t>de lutte</a:t>
            </a:r>
            <a:r>
              <a:rPr lang="en-US" sz="2400" i="1" smtClean="0"/>
              <a:t> contre la sida (ALCS)</a:t>
            </a:r>
            <a:r>
              <a:rPr lang="en-US" sz="3200" smtClean="0"/>
              <a:t> </a:t>
            </a:r>
            <a:br>
              <a:rPr lang="en-US" sz="3200" smtClean="0"/>
            </a:br>
            <a:r>
              <a:rPr lang="en-US" sz="3200" smtClean="0"/>
              <a:t/>
            </a:r>
            <a:br>
              <a:rPr lang="en-US" sz="3200" smtClean="0"/>
            </a:br>
            <a:r>
              <a:rPr lang="en-US" sz="2000" i="1" smtClean="0"/>
              <a:t/>
            </a:r>
            <a:br>
              <a:rPr lang="en-US" sz="2000" i="1" smtClean="0"/>
            </a:br>
            <a:r>
              <a:rPr lang="en-US" sz="2000" i="1" smtClean="0"/>
              <a:t>May 23, 2014</a:t>
            </a:r>
          </a:p>
        </p:txBody>
      </p:sp>
      <p:sp>
        <p:nvSpPr>
          <p:cNvPr id="39938" name="Subtitle 2"/>
          <p:cNvSpPr>
            <a:spLocks noGrp="1"/>
          </p:cNvSpPr>
          <p:nvPr>
            <p:ph type="subTitle" idx="1"/>
          </p:nvPr>
        </p:nvSpPr>
        <p:spPr/>
        <p:txBody>
          <a:bodyPr/>
          <a:lstStyle/>
          <a:p>
            <a:pPr eaLnBrk="1" hangingPunct="1"/>
            <a:r>
              <a:rPr lang="en-US" sz="1200" smtClean="0"/>
              <a:t>IBM Corporate Services Corps – Morocco 5 Team</a:t>
            </a:r>
          </a:p>
        </p:txBody>
      </p:sp>
      <p:sp>
        <p:nvSpPr>
          <p:cNvPr id="39939" name="McK Disclaimer"/>
          <p:cNvSpPr>
            <a:spLocks noChangeArrowheads="1"/>
          </p:cNvSpPr>
          <p:nvPr>
            <p:custDataLst>
              <p:tags r:id="rId1"/>
            </p:custDataLst>
          </p:nvPr>
        </p:nvSpPr>
        <p:spPr bwMode="gray">
          <a:xfrm>
            <a:off x="274638" y="6070600"/>
            <a:ext cx="4572000" cy="682625"/>
          </a:xfrm>
          <a:prstGeom prst="rect">
            <a:avLst/>
          </a:prstGeom>
          <a:noFill/>
          <a:ln w="9525">
            <a:noFill/>
            <a:miter lim="800000"/>
            <a:headEnd/>
            <a:tailEnd/>
          </a:ln>
        </p:spPr>
        <p:txBody>
          <a:bodyPr lIns="0" tIns="46796" rIns="89996" bIns="46796" anchor="b"/>
          <a:lstStyle/>
          <a:p>
            <a:pPr defTabSz="804863" eaLnBrk="0" hangingPunct="0"/>
            <a:r>
              <a:rPr lang="en-US" altLang="zh-CN" sz="800">
                <a:ea typeface="SimSun" pitchFamily="2" charset="-122"/>
              </a:rPr>
              <a:t>This report contains information that is confidential and proprietary to IBM and is solely for the use of IBM personnel.  No part of it may be used, circulated, quoted, or reproduced for distribution outside IBM.  If you are not the intended recipient of this report, you are hereby notified that the use, circulation, quoting, or reproducing of this report is strictly prohibited and may be unlawful.</a:t>
            </a:r>
          </a:p>
        </p:txBody>
      </p:sp>
      <p:pic>
        <p:nvPicPr>
          <p:cNvPr id="39940" name="Picture 6" descr="https://encrypted-tbn0.gstatic.com/images?q=tbn:ANd9GcTXcx3aw8VI6FYeC42Tj1wTedCjPjk9SU7sFAI57lCz3wFKtDnBAQ"/>
          <p:cNvPicPr>
            <a:picLocks noChangeAspect="1" noChangeArrowheads="1"/>
          </p:cNvPicPr>
          <p:nvPr/>
        </p:nvPicPr>
        <p:blipFill>
          <a:blip r:embed="rId3"/>
          <a:srcRect/>
          <a:stretch>
            <a:fillRect/>
          </a:stretch>
        </p:blipFill>
        <p:spPr bwMode="auto">
          <a:xfrm>
            <a:off x="7062788" y="4878388"/>
            <a:ext cx="1917700" cy="1874837"/>
          </a:xfrm>
          <a:prstGeom prst="rect">
            <a:avLst/>
          </a:prstGeom>
          <a:noFill/>
          <a:ln w="9525">
            <a:noFill/>
            <a:miter lim="800000"/>
            <a:headEnd/>
            <a:tailEnd/>
          </a:ln>
        </p:spPr>
      </p:pic>
      <p:pic>
        <p:nvPicPr>
          <p:cNvPr id="39941" name="Picture 6" descr="ANd9GcQATPMSx9hOy6Hal3F3MTebmCT3b6p3W_xanMT97KgQDy3N7hdEYw"/>
          <p:cNvPicPr>
            <a:picLocks noChangeAspect="1" noChangeArrowheads="1"/>
          </p:cNvPicPr>
          <p:nvPr/>
        </p:nvPicPr>
        <p:blipFill>
          <a:blip r:embed="rId4"/>
          <a:srcRect/>
          <a:stretch>
            <a:fillRect/>
          </a:stretch>
        </p:blipFill>
        <p:spPr bwMode="auto">
          <a:xfrm>
            <a:off x="274638" y="5195888"/>
            <a:ext cx="1028700" cy="874712"/>
          </a:xfrm>
          <a:prstGeom prst="rect">
            <a:avLst/>
          </a:prstGeom>
          <a:noFill/>
          <a:ln w="9525">
            <a:noFill/>
            <a:miter lim="800000"/>
            <a:headEnd/>
            <a:tailEnd/>
          </a:ln>
        </p:spPr>
      </p:pic>
      <p:pic>
        <p:nvPicPr>
          <p:cNvPr id="39943" name="Picture 2"/>
          <p:cNvPicPr>
            <a:picLocks noChangeAspect="1" noChangeArrowheads="1"/>
          </p:cNvPicPr>
          <p:nvPr/>
        </p:nvPicPr>
        <p:blipFill>
          <a:blip r:embed="rId5"/>
          <a:srcRect/>
          <a:stretch>
            <a:fillRect/>
          </a:stretch>
        </p:blipFill>
        <p:spPr bwMode="auto">
          <a:xfrm>
            <a:off x="5634038" y="444500"/>
            <a:ext cx="1428750" cy="3079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Title 11"/>
          <p:cNvSpPr>
            <a:spLocks noGrp="1"/>
          </p:cNvSpPr>
          <p:nvPr>
            <p:ph type="title" idx="4294967295"/>
          </p:nvPr>
        </p:nvSpPr>
        <p:spPr/>
        <p:txBody>
          <a:bodyPr/>
          <a:lstStyle/>
          <a:p>
            <a:pPr eaLnBrk="1" hangingPunct="1"/>
            <a:r>
              <a:rPr lang="en-US" smtClean="0"/>
              <a:t>Strengths and weaknesses may be turned into opportunities                        – keeping in mind the potential threats</a:t>
            </a:r>
          </a:p>
        </p:txBody>
      </p:sp>
      <p:sp>
        <p:nvSpPr>
          <p:cNvPr id="55298"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8D266020-0184-45FE-B332-4A0852F5739D}" type="slidenum">
              <a:rPr lang="en-US" sz="800"/>
              <a:pPr/>
              <a:t>10</a:t>
            </a:fld>
            <a:endParaRPr lang="en-US" sz="800"/>
          </a:p>
        </p:txBody>
      </p:sp>
      <p:sp>
        <p:nvSpPr>
          <p:cNvPr id="55299" name="Rectangle 5"/>
          <p:cNvSpPr>
            <a:spLocks noChangeArrowheads="1"/>
          </p:cNvSpPr>
          <p:nvPr/>
        </p:nvSpPr>
        <p:spPr bwMode="auto">
          <a:xfrm>
            <a:off x="190500" y="1246188"/>
            <a:ext cx="4533900" cy="3097212"/>
          </a:xfrm>
          <a:prstGeom prst="rect">
            <a:avLst/>
          </a:prstGeom>
          <a:noFill/>
          <a:ln w="9525">
            <a:noFill/>
            <a:miter lim="800000"/>
            <a:headEnd/>
            <a:tailEnd/>
          </a:ln>
        </p:spPr>
        <p:txBody>
          <a:bodyPr lIns="91436" tIns="45716" rIns="91436" bIns="45716"/>
          <a:lstStyle/>
          <a:p>
            <a:pPr marL="180975" indent="-180975" algn="ctr">
              <a:spcBef>
                <a:spcPct val="20000"/>
              </a:spcBef>
              <a:buClr>
                <a:schemeClr val="tx1"/>
              </a:buClr>
              <a:buFont typeface="Wingdings" pitchFamily="2" charset="2"/>
              <a:buNone/>
            </a:pPr>
            <a:r>
              <a:rPr lang="en-US" b="1">
                <a:solidFill>
                  <a:srgbClr val="0070C0"/>
                </a:solidFill>
              </a:rPr>
              <a:t>Opportunities</a:t>
            </a:r>
          </a:p>
          <a:p>
            <a:pPr marL="180975" indent="-180975">
              <a:spcBef>
                <a:spcPts val="600"/>
              </a:spcBef>
              <a:buClr>
                <a:srgbClr val="7889FB"/>
              </a:buClr>
              <a:buFont typeface="Wingdings" pitchFamily="2" charset="2"/>
              <a:buChar char="§"/>
            </a:pPr>
            <a:r>
              <a:rPr lang="en-US" sz="1300"/>
              <a:t>Become a ‘Center of Excellence’ in the Maghreb region for HIV/AIDS prevention</a:t>
            </a:r>
          </a:p>
          <a:p>
            <a:pPr marL="180975" indent="-180975">
              <a:spcBef>
                <a:spcPts val="600"/>
              </a:spcBef>
              <a:buClr>
                <a:srgbClr val="7889FB"/>
              </a:buClr>
              <a:buFont typeface="Wingdings" pitchFamily="2" charset="2"/>
              <a:buChar char="§"/>
            </a:pPr>
            <a:r>
              <a:rPr lang="en-US" sz="1300"/>
              <a:t>Serve as a role model, sharing best practice methods with other NGOs and health care providers</a:t>
            </a:r>
          </a:p>
          <a:p>
            <a:pPr marL="180975" indent="-180975">
              <a:spcBef>
                <a:spcPts val="600"/>
              </a:spcBef>
              <a:buClr>
                <a:srgbClr val="7889FB"/>
              </a:buClr>
              <a:buFont typeface="Wingdings" pitchFamily="2" charset="2"/>
              <a:buChar char="§"/>
            </a:pPr>
            <a:r>
              <a:rPr lang="en-US" sz="1300"/>
              <a:t>Extend prevention support for other contagious diseases</a:t>
            </a:r>
          </a:p>
          <a:p>
            <a:pPr marL="180975" indent="-180975">
              <a:spcBef>
                <a:spcPts val="600"/>
              </a:spcBef>
              <a:buClr>
                <a:srgbClr val="7889FB"/>
              </a:buClr>
              <a:buFont typeface="Wingdings" pitchFamily="2" charset="2"/>
              <a:buChar char="§"/>
            </a:pPr>
            <a:r>
              <a:rPr lang="en-US" sz="1300"/>
              <a:t>Adopt a centralized information repository to improve operational efficiency, increase performance and information sharing</a:t>
            </a:r>
          </a:p>
          <a:p>
            <a:pPr marL="180975" indent="-180975">
              <a:spcBef>
                <a:spcPts val="600"/>
              </a:spcBef>
              <a:buClr>
                <a:srgbClr val="7889FB"/>
              </a:buClr>
              <a:buFont typeface="Wingdings" pitchFamily="2" charset="2"/>
              <a:buChar char="§"/>
            </a:pPr>
            <a:r>
              <a:rPr lang="en-US" sz="1300"/>
              <a:t>Use collaboration tools to improve communications and performance metrics reporting</a:t>
            </a:r>
          </a:p>
          <a:p>
            <a:pPr marL="180975" indent="-180975">
              <a:spcBef>
                <a:spcPts val="600"/>
              </a:spcBef>
              <a:buClr>
                <a:srgbClr val="7889FB"/>
              </a:buClr>
              <a:buFont typeface="Wingdings" pitchFamily="2" charset="2"/>
              <a:buChar char="§"/>
            </a:pPr>
            <a:r>
              <a:rPr lang="en-US" sz="1300"/>
              <a:t>Outsource IT infrastructure support, ensuring use of latest technology and security methods </a:t>
            </a:r>
          </a:p>
          <a:p>
            <a:pPr marL="180975" indent="-180975">
              <a:spcBef>
                <a:spcPts val="600"/>
              </a:spcBef>
              <a:buClr>
                <a:srgbClr val="7889FB"/>
              </a:buClr>
              <a:buFont typeface="Wingdings" pitchFamily="2" charset="2"/>
              <a:buChar char="§"/>
            </a:pPr>
            <a:r>
              <a:rPr lang="en-US" sz="1300"/>
              <a:t>Optimize donor information to support fundraising strategy for sustainability</a:t>
            </a:r>
          </a:p>
          <a:p>
            <a:pPr marL="180975" indent="-180975">
              <a:spcBef>
                <a:spcPts val="600"/>
              </a:spcBef>
              <a:buClr>
                <a:srgbClr val="7889FB"/>
              </a:buClr>
              <a:buFont typeface="Wingdings" pitchFamily="2" charset="2"/>
              <a:buChar char="§"/>
            </a:pPr>
            <a:r>
              <a:rPr lang="en-US" sz="1300"/>
              <a:t>Leverage social media, including mobile applications to:</a:t>
            </a:r>
          </a:p>
          <a:p>
            <a:pPr marL="742950" lvl="1" indent="-285750">
              <a:spcBef>
                <a:spcPts val="600"/>
              </a:spcBef>
              <a:buClr>
                <a:srgbClr val="7889FB"/>
              </a:buClr>
              <a:buFont typeface="Wingdings" pitchFamily="2" charset="2"/>
              <a:buChar char="§"/>
            </a:pPr>
            <a:r>
              <a:rPr lang="en-US" sz="1300"/>
              <a:t>Provide care and support for target audiences</a:t>
            </a:r>
          </a:p>
          <a:p>
            <a:pPr marL="742950" lvl="1" indent="-285750">
              <a:spcBef>
                <a:spcPts val="600"/>
              </a:spcBef>
              <a:buClr>
                <a:srgbClr val="7889FB"/>
              </a:buClr>
              <a:buFont typeface="Wingdings" pitchFamily="2" charset="2"/>
              <a:buChar char="§"/>
            </a:pPr>
            <a:r>
              <a:rPr lang="en-US" sz="1300"/>
              <a:t>Share real time data between doctors and clients on testing results, appointments and treatments</a:t>
            </a:r>
          </a:p>
          <a:p>
            <a:pPr marL="742950" lvl="1" indent="-285750">
              <a:spcBef>
                <a:spcPts val="600"/>
              </a:spcBef>
              <a:buClr>
                <a:srgbClr val="7889FB"/>
              </a:buClr>
              <a:buFont typeface="Wingdings" pitchFamily="2" charset="2"/>
              <a:buChar char="§"/>
            </a:pPr>
            <a:r>
              <a:rPr lang="en-US" sz="1300"/>
              <a:t>Support public awareness campaign activities</a:t>
            </a:r>
          </a:p>
          <a:p>
            <a:pPr marL="742950" lvl="1" indent="-285750">
              <a:spcBef>
                <a:spcPts val="600"/>
              </a:spcBef>
              <a:buClr>
                <a:srgbClr val="7889FB"/>
              </a:buClr>
              <a:buFont typeface="Wingdings" pitchFamily="2" charset="2"/>
              <a:buChar char="§"/>
            </a:pPr>
            <a:r>
              <a:rPr lang="en-US" sz="1300"/>
              <a:t>Increase promotion of success stories/income generating activities </a:t>
            </a:r>
          </a:p>
          <a:p>
            <a:pPr marL="180975" indent="-180975">
              <a:buFontTx/>
              <a:buChar char="•"/>
            </a:pPr>
            <a:endParaRPr lang="en-US" sz="1300"/>
          </a:p>
          <a:p>
            <a:pPr marL="180975" indent="-180975">
              <a:spcBef>
                <a:spcPts val="600"/>
              </a:spcBef>
              <a:buClr>
                <a:schemeClr val="tx1"/>
              </a:buClr>
              <a:buFont typeface="Wingdings" pitchFamily="2" charset="2"/>
              <a:buChar char="§"/>
            </a:pPr>
            <a:endParaRPr lang="en-US" sz="1300"/>
          </a:p>
          <a:p>
            <a:pPr marL="180975" indent="-180975">
              <a:spcBef>
                <a:spcPct val="20000"/>
              </a:spcBef>
              <a:buClr>
                <a:schemeClr val="tx1"/>
              </a:buClr>
              <a:buFont typeface="Wingdings" pitchFamily="2" charset="2"/>
              <a:buChar char="§"/>
            </a:pPr>
            <a:endParaRPr lang="en-US" sz="1300"/>
          </a:p>
          <a:p>
            <a:pPr marL="180975" indent="-180975">
              <a:spcBef>
                <a:spcPct val="20000"/>
              </a:spcBef>
              <a:buClr>
                <a:schemeClr val="tx1"/>
              </a:buClr>
              <a:buFont typeface="Wingdings" pitchFamily="2" charset="2"/>
              <a:buChar char="§"/>
            </a:pPr>
            <a:endParaRPr lang="en-US" sz="1300"/>
          </a:p>
          <a:p>
            <a:pPr marL="180975" indent="-180975">
              <a:spcBef>
                <a:spcPct val="20000"/>
              </a:spcBef>
              <a:buClr>
                <a:schemeClr val="tx1"/>
              </a:buClr>
              <a:buFont typeface="Wingdings" pitchFamily="2" charset="2"/>
              <a:buChar char="§"/>
            </a:pPr>
            <a:endParaRPr lang="en-US" sz="1300"/>
          </a:p>
        </p:txBody>
      </p:sp>
      <p:sp>
        <p:nvSpPr>
          <p:cNvPr id="55300" name="Rectangle 6"/>
          <p:cNvSpPr>
            <a:spLocks noChangeArrowheads="1"/>
          </p:cNvSpPr>
          <p:nvPr/>
        </p:nvSpPr>
        <p:spPr bwMode="auto">
          <a:xfrm>
            <a:off x="4646613" y="1274763"/>
            <a:ext cx="4192587" cy="2755900"/>
          </a:xfrm>
          <a:prstGeom prst="rect">
            <a:avLst/>
          </a:prstGeom>
          <a:noFill/>
          <a:ln w="9525">
            <a:noFill/>
            <a:miter lim="800000"/>
            <a:headEnd/>
            <a:tailEnd/>
          </a:ln>
        </p:spPr>
        <p:txBody>
          <a:bodyPr lIns="91436" tIns="45716" rIns="91436" bIns="45716"/>
          <a:lstStyle/>
          <a:p>
            <a:pPr marL="180975" indent="-180975" algn="ctr">
              <a:spcBef>
                <a:spcPct val="20000"/>
              </a:spcBef>
              <a:buClr>
                <a:schemeClr val="tx1"/>
              </a:buClr>
              <a:buFont typeface="Wingdings" pitchFamily="2" charset="2"/>
              <a:buNone/>
            </a:pPr>
            <a:r>
              <a:rPr lang="en-US" b="1">
                <a:solidFill>
                  <a:srgbClr val="0070C0"/>
                </a:solidFill>
              </a:rPr>
              <a:t>Threats</a:t>
            </a:r>
          </a:p>
          <a:p>
            <a:pPr marL="180975" indent="-180975">
              <a:spcBef>
                <a:spcPts val="600"/>
              </a:spcBef>
              <a:buClr>
                <a:srgbClr val="7889FB"/>
              </a:buClr>
              <a:buFont typeface="Wingdings" pitchFamily="2" charset="2"/>
              <a:buChar char="§"/>
            </a:pPr>
            <a:r>
              <a:rPr lang="en-US" sz="1300"/>
              <a:t>Future pipeline of international and government funding may be limited </a:t>
            </a:r>
          </a:p>
          <a:p>
            <a:pPr marL="180975" indent="-180975">
              <a:spcBef>
                <a:spcPts val="600"/>
              </a:spcBef>
              <a:buClr>
                <a:srgbClr val="7889FB"/>
              </a:buClr>
              <a:buFont typeface="Wingdings" pitchFamily="2" charset="2"/>
              <a:buChar char="§"/>
            </a:pPr>
            <a:r>
              <a:rPr lang="en-US" sz="1300"/>
              <a:t>Lack of robust IT infrastructure to support growth</a:t>
            </a:r>
          </a:p>
          <a:p>
            <a:pPr marL="180975" indent="-180975">
              <a:spcBef>
                <a:spcPts val="600"/>
              </a:spcBef>
              <a:buClr>
                <a:srgbClr val="7889FB"/>
              </a:buClr>
              <a:buFont typeface="Wingdings" pitchFamily="2" charset="2"/>
              <a:buChar char="§"/>
            </a:pPr>
            <a:r>
              <a:rPr lang="en-US" sz="1300"/>
              <a:t>Lack of qualified personnel resources, including doctors and trained volunteers</a:t>
            </a:r>
          </a:p>
          <a:p>
            <a:pPr marL="180975" indent="-180975">
              <a:spcBef>
                <a:spcPts val="600"/>
              </a:spcBef>
              <a:buClr>
                <a:srgbClr val="7889FB"/>
              </a:buClr>
              <a:buFont typeface="Wingdings" pitchFamily="2" charset="2"/>
              <a:buChar char="§"/>
            </a:pPr>
            <a:r>
              <a:rPr lang="en-US" sz="1300"/>
              <a:t>Ongoing discrimination and human rights violations against target audiences</a:t>
            </a:r>
          </a:p>
          <a:p>
            <a:pPr marL="180975" indent="-180975">
              <a:spcBef>
                <a:spcPts val="600"/>
              </a:spcBef>
              <a:buClr>
                <a:srgbClr val="7889FB"/>
              </a:buClr>
              <a:buFont typeface="Wingdings" pitchFamily="2" charset="2"/>
              <a:buChar char="§"/>
            </a:pPr>
            <a:r>
              <a:rPr lang="en-US" sz="1300"/>
              <a:t>Limited ability to track trending data following participation with ALCS</a:t>
            </a:r>
          </a:p>
          <a:p>
            <a:pPr marL="180975" indent="-180975">
              <a:spcBef>
                <a:spcPts val="600"/>
              </a:spcBef>
              <a:buClr>
                <a:srgbClr val="7889FB"/>
              </a:buClr>
              <a:buFont typeface="Wingdings" pitchFamily="2" charset="2"/>
              <a:buChar char="§"/>
            </a:pPr>
            <a:r>
              <a:rPr lang="en-US" sz="1300"/>
              <a:t>Potential for IT security incidents and data breaches</a:t>
            </a:r>
          </a:p>
        </p:txBody>
      </p:sp>
      <p:sp>
        <p:nvSpPr>
          <p:cNvPr id="55301" name="Rectangle 8"/>
          <p:cNvSpPr>
            <a:spLocks noChangeArrowheads="1"/>
          </p:cNvSpPr>
          <p:nvPr/>
        </p:nvSpPr>
        <p:spPr bwMode="gray">
          <a:xfrm>
            <a:off x="282575" y="625475"/>
            <a:ext cx="8537575" cy="427038"/>
          </a:xfrm>
          <a:prstGeom prst="rect">
            <a:avLst/>
          </a:prstGeom>
          <a:noFill/>
          <a:ln w="9525" algn="ctr">
            <a:noFill/>
            <a:miter lim="800000"/>
            <a:headEnd/>
            <a:tailEnd/>
          </a:ln>
        </p:spPr>
        <p:txBody>
          <a:bodyPr lIns="0" tIns="45716" rIns="91436" bIns="45716"/>
          <a:lstStyle/>
          <a:p>
            <a:pPr>
              <a:lnSpc>
                <a:spcPct val="90000"/>
              </a:lnSpc>
            </a:pPr>
            <a:endParaRPr lang="nl-NL" sz="2200">
              <a:solidFill>
                <a:schemeClr val="hlink"/>
              </a:solidFill>
            </a:endParaRPr>
          </a:p>
        </p:txBody>
      </p:sp>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Title 1"/>
          <p:cNvSpPr>
            <a:spLocks noGrp="1"/>
          </p:cNvSpPr>
          <p:nvPr>
            <p:ph type="title" idx="4294967295"/>
          </p:nvPr>
        </p:nvSpPr>
        <p:spPr>
          <a:xfrm>
            <a:off x="152400" y="630238"/>
            <a:ext cx="7826375" cy="701675"/>
          </a:xfrm>
        </p:spPr>
        <p:txBody>
          <a:bodyPr/>
          <a:lstStyle/>
          <a:p>
            <a:pPr eaLnBrk="1" hangingPunct="1"/>
            <a:r>
              <a:rPr lang="en-US" smtClean="0"/>
              <a:t>ALCS operations and management are driven by programs/projects </a:t>
            </a:r>
          </a:p>
        </p:txBody>
      </p:sp>
      <p:sp>
        <p:nvSpPr>
          <p:cNvPr id="50178" name="Slide Number Placeholder 3"/>
          <p:cNvSpPr txBox="1">
            <a:spLocks noGrp="1"/>
          </p:cNvSpPr>
          <p:nvPr/>
        </p:nvSpPr>
        <p:spPr bwMode="black">
          <a:xfrm>
            <a:off x="152400" y="6553200"/>
            <a:ext cx="366713" cy="184150"/>
          </a:xfrm>
          <a:prstGeom prst="rect">
            <a:avLst/>
          </a:prstGeom>
          <a:noFill/>
          <a:ln w="9525">
            <a:noFill/>
            <a:miter lim="800000"/>
            <a:headEnd/>
            <a:tailEnd/>
          </a:ln>
        </p:spPr>
        <p:txBody>
          <a:bodyPr lIns="92075" tIns="46038" rIns="92075" bIns="46038"/>
          <a:lstStyle/>
          <a:p>
            <a:fld id="{68B424AC-94F9-40FE-A7B5-4144A54A1F22}" type="slidenum">
              <a:rPr lang="en-US" sz="800"/>
              <a:pPr/>
              <a:t>11</a:t>
            </a:fld>
            <a:endParaRPr lang="en-US" sz="800"/>
          </a:p>
        </p:txBody>
      </p:sp>
      <p:sp>
        <p:nvSpPr>
          <p:cNvPr id="50179" name="Freeform 4"/>
          <p:cNvSpPr>
            <a:spLocks noChangeAspect="1"/>
          </p:cNvSpPr>
          <p:nvPr/>
        </p:nvSpPr>
        <p:spPr bwMode="gray">
          <a:xfrm rot="872276">
            <a:off x="4275138" y="3114675"/>
            <a:ext cx="1100137" cy="1971675"/>
          </a:xfrm>
          <a:custGeom>
            <a:avLst/>
            <a:gdLst>
              <a:gd name="T0" fmla="*/ 2147483647 w 443"/>
              <a:gd name="T1" fmla="*/ 2147483647 h 828"/>
              <a:gd name="T2" fmla="*/ 2147483647 w 443"/>
              <a:gd name="T3" fmla="*/ 2147483647 h 828"/>
              <a:gd name="T4" fmla="*/ 2147483647 w 443"/>
              <a:gd name="T5" fmla="*/ 2147483647 h 828"/>
              <a:gd name="T6" fmla="*/ 2147483647 w 443"/>
              <a:gd name="T7" fmla="*/ 2147483647 h 828"/>
              <a:gd name="T8" fmla="*/ 2147483647 w 443"/>
              <a:gd name="T9" fmla="*/ 2147483647 h 828"/>
              <a:gd name="T10" fmla="*/ 2147483647 w 443"/>
              <a:gd name="T11" fmla="*/ 2147483647 h 828"/>
              <a:gd name="T12" fmla="*/ 0 w 443"/>
              <a:gd name="T13" fmla="*/ 2147483647 h 828"/>
              <a:gd name="T14" fmla="*/ 2147483647 w 443"/>
              <a:gd name="T15" fmla="*/ 2147483647 h 828"/>
              <a:gd name="T16" fmla="*/ 2147483647 w 443"/>
              <a:gd name="T17" fmla="*/ 2147483647 h 828"/>
              <a:gd name="T18" fmla="*/ 2147483647 w 443"/>
              <a:gd name="T19" fmla="*/ 2147483647 h 828"/>
              <a:gd name="T20" fmla="*/ 2147483647 w 443"/>
              <a:gd name="T21" fmla="*/ 2147483647 h 828"/>
              <a:gd name="T22" fmla="*/ 2147483647 w 443"/>
              <a:gd name="T23" fmla="*/ 2147483647 h 828"/>
              <a:gd name="T24" fmla="*/ 2147483647 w 443"/>
              <a:gd name="T25" fmla="*/ 2147483647 h 828"/>
              <a:gd name="T26" fmla="*/ 2147483647 w 443"/>
              <a:gd name="T27" fmla="*/ 2147483647 h 828"/>
              <a:gd name="T28" fmla="*/ 2147483647 w 443"/>
              <a:gd name="T29" fmla="*/ 2147483647 h 828"/>
              <a:gd name="T30" fmla="*/ 2147483647 w 443"/>
              <a:gd name="T31" fmla="*/ 2147483647 h 828"/>
              <a:gd name="T32" fmla="*/ 2147483647 w 443"/>
              <a:gd name="T33" fmla="*/ 2147483647 h 828"/>
              <a:gd name="T34" fmla="*/ 2147483647 w 443"/>
              <a:gd name="T35" fmla="*/ 2147483647 h 828"/>
              <a:gd name="T36" fmla="*/ 2147483647 w 443"/>
              <a:gd name="T37" fmla="*/ 2147483647 h 828"/>
              <a:gd name="T38" fmla="*/ 2147483647 w 443"/>
              <a:gd name="T39" fmla="*/ 2147483647 h 828"/>
              <a:gd name="T40" fmla="*/ 2147483647 w 443"/>
              <a:gd name="T41" fmla="*/ 2147483647 h 828"/>
              <a:gd name="T42" fmla="*/ 2147483647 w 443"/>
              <a:gd name="T43" fmla="*/ 2147483647 h 828"/>
              <a:gd name="T44" fmla="*/ 2147483647 w 443"/>
              <a:gd name="T45" fmla="*/ 2147483647 h 828"/>
              <a:gd name="T46" fmla="*/ 2147483647 w 443"/>
              <a:gd name="T47" fmla="*/ 2147483647 h 828"/>
              <a:gd name="T48" fmla="*/ 2147483647 w 443"/>
              <a:gd name="T49" fmla="*/ 2147483647 h 828"/>
              <a:gd name="T50" fmla="*/ 2147483647 w 443"/>
              <a:gd name="T51" fmla="*/ 2147483647 h 828"/>
              <a:gd name="T52" fmla="*/ 2147483647 w 443"/>
              <a:gd name="T53" fmla="*/ 2147483647 h 828"/>
              <a:gd name="T54" fmla="*/ 2147483647 w 443"/>
              <a:gd name="T55" fmla="*/ 2147483647 h 828"/>
              <a:gd name="T56" fmla="*/ 2147483647 w 443"/>
              <a:gd name="T57" fmla="*/ 2147483647 h 828"/>
              <a:gd name="T58" fmla="*/ 2147483647 w 443"/>
              <a:gd name="T59" fmla="*/ 2147483647 h 828"/>
              <a:gd name="T60" fmla="*/ 2147483647 w 443"/>
              <a:gd name="T61" fmla="*/ 2147483647 h 828"/>
              <a:gd name="T62" fmla="*/ 2147483647 w 443"/>
              <a:gd name="T63" fmla="*/ 2147483647 h 828"/>
              <a:gd name="T64" fmla="*/ 2147483647 w 443"/>
              <a:gd name="T65" fmla="*/ 2147483647 h 828"/>
              <a:gd name="T66" fmla="*/ 2147483647 w 443"/>
              <a:gd name="T67" fmla="*/ 2147483647 h 828"/>
              <a:gd name="T68" fmla="*/ 2147483647 w 443"/>
              <a:gd name="T69" fmla="*/ 2147483647 h 828"/>
              <a:gd name="T70" fmla="*/ 2147483647 w 443"/>
              <a:gd name="T71" fmla="*/ 2147483647 h 828"/>
              <a:gd name="T72" fmla="*/ 2147483647 w 443"/>
              <a:gd name="T73" fmla="*/ 2147483647 h 828"/>
              <a:gd name="T74" fmla="*/ 2147483647 w 443"/>
              <a:gd name="T75" fmla="*/ 2147483647 h 828"/>
              <a:gd name="T76" fmla="*/ 2147483647 w 443"/>
              <a:gd name="T77" fmla="*/ 2147483647 h 828"/>
              <a:gd name="T78" fmla="*/ 2147483647 w 443"/>
              <a:gd name="T79" fmla="*/ 2147483647 h 828"/>
              <a:gd name="T80" fmla="*/ 2147483647 w 443"/>
              <a:gd name="T81" fmla="*/ 2147483647 h 828"/>
              <a:gd name="T82" fmla="*/ 2147483647 w 443"/>
              <a:gd name="T83" fmla="*/ 2147483647 h 828"/>
              <a:gd name="T84" fmla="*/ 2147483647 w 443"/>
              <a:gd name="T85" fmla="*/ 2147483647 h 828"/>
              <a:gd name="T86" fmla="*/ 2147483647 w 443"/>
              <a:gd name="T87" fmla="*/ 2147483647 h 828"/>
              <a:gd name="T88" fmla="*/ 2147483647 w 443"/>
              <a:gd name="T89" fmla="*/ 2147483647 h 828"/>
              <a:gd name="T90" fmla="*/ 2147483647 w 443"/>
              <a:gd name="T91" fmla="*/ 2147483647 h 828"/>
              <a:gd name="T92" fmla="*/ 2147483647 w 443"/>
              <a:gd name="T93" fmla="*/ 2147483647 h 828"/>
              <a:gd name="T94" fmla="*/ 2147483647 w 443"/>
              <a:gd name="T95" fmla="*/ 2147483647 h 828"/>
              <a:gd name="T96" fmla="*/ 2147483647 w 443"/>
              <a:gd name="T97" fmla="*/ 2147483647 h 828"/>
              <a:gd name="T98" fmla="*/ 2147483647 w 443"/>
              <a:gd name="T99" fmla="*/ 2147483647 h 828"/>
              <a:gd name="T100" fmla="*/ 2147483647 w 443"/>
              <a:gd name="T101" fmla="*/ 2147483647 h 828"/>
              <a:gd name="T102" fmla="*/ 2147483647 w 443"/>
              <a:gd name="T103" fmla="*/ 2147483647 h 828"/>
              <a:gd name="T104" fmla="*/ 2147483647 w 443"/>
              <a:gd name="T105" fmla="*/ 2147483647 h 828"/>
              <a:gd name="T106" fmla="*/ 2147483647 w 443"/>
              <a:gd name="T107" fmla="*/ 2147483647 h 828"/>
              <a:gd name="T108" fmla="*/ 2147483647 w 443"/>
              <a:gd name="T109" fmla="*/ 2147483647 h 828"/>
              <a:gd name="T110" fmla="*/ 2147483647 w 443"/>
              <a:gd name="T111" fmla="*/ 2147483647 h 828"/>
              <a:gd name="T112" fmla="*/ 2147483647 w 443"/>
              <a:gd name="T113" fmla="*/ 2147483647 h 828"/>
              <a:gd name="T114" fmla="*/ 2147483647 w 443"/>
              <a:gd name="T115" fmla="*/ 2147483647 h 828"/>
              <a:gd name="T116" fmla="*/ 2147483647 w 443"/>
              <a:gd name="T117" fmla="*/ 2147483647 h 828"/>
              <a:gd name="T118" fmla="*/ 2147483647 w 443"/>
              <a:gd name="T119" fmla="*/ 2147483647 h 82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43"/>
              <a:gd name="T181" fmla="*/ 0 h 828"/>
              <a:gd name="T182" fmla="*/ 443 w 443"/>
              <a:gd name="T183" fmla="*/ 828 h 82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43" h="828">
                <a:moveTo>
                  <a:pt x="26" y="714"/>
                </a:moveTo>
                <a:lnTo>
                  <a:pt x="29" y="828"/>
                </a:lnTo>
                <a:lnTo>
                  <a:pt x="59" y="825"/>
                </a:lnTo>
                <a:lnTo>
                  <a:pt x="80" y="776"/>
                </a:lnTo>
                <a:lnTo>
                  <a:pt x="158" y="755"/>
                </a:lnTo>
                <a:lnTo>
                  <a:pt x="224" y="781"/>
                </a:lnTo>
                <a:lnTo>
                  <a:pt x="256" y="761"/>
                </a:lnTo>
                <a:lnTo>
                  <a:pt x="263" y="697"/>
                </a:lnTo>
                <a:lnTo>
                  <a:pt x="311" y="649"/>
                </a:lnTo>
                <a:lnTo>
                  <a:pt x="372" y="647"/>
                </a:lnTo>
                <a:lnTo>
                  <a:pt x="400" y="605"/>
                </a:lnTo>
                <a:lnTo>
                  <a:pt x="371" y="536"/>
                </a:lnTo>
                <a:lnTo>
                  <a:pt x="393" y="469"/>
                </a:lnTo>
                <a:lnTo>
                  <a:pt x="441" y="435"/>
                </a:lnTo>
                <a:lnTo>
                  <a:pt x="443" y="389"/>
                </a:lnTo>
                <a:lnTo>
                  <a:pt x="390" y="362"/>
                </a:lnTo>
                <a:lnTo>
                  <a:pt x="369" y="286"/>
                </a:lnTo>
                <a:lnTo>
                  <a:pt x="395" y="216"/>
                </a:lnTo>
                <a:lnTo>
                  <a:pt x="378" y="189"/>
                </a:lnTo>
                <a:lnTo>
                  <a:pt x="311" y="179"/>
                </a:lnTo>
                <a:lnTo>
                  <a:pt x="267" y="137"/>
                </a:lnTo>
                <a:lnTo>
                  <a:pt x="263" y="69"/>
                </a:lnTo>
                <a:lnTo>
                  <a:pt x="226" y="46"/>
                </a:lnTo>
                <a:lnTo>
                  <a:pt x="163" y="74"/>
                </a:lnTo>
                <a:lnTo>
                  <a:pt x="83" y="51"/>
                </a:lnTo>
                <a:lnTo>
                  <a:pt x="74" y="1"/>
                </a:lnTo>
                <a:lnTo>
                  <a:pt x="25" y="0"/>
                </a:lnTo>
                <a:lnTo>
                  <a:pt x="0" y="52"/>
                </a:lnTo>
                <a:lnTo>
                  <a:pt x="29" y="115"/>
                </a:lnTo>
                <a:lnTo>
                  <a:pt x="30" y="115"/>
                </a:lnTo>
                <a:lnTo>
                  <a:pt x="33" y="115"/>
                </a:lnTo>
                <a:lnTo>
                  <a:pt x="36" y="115"/>
                </a:lnTo>
                <a:lnTo>
                  <a:pt x="41" y="115"/>
                </a:lnTo>
                <a:lnTo>
                  <a:pt x="44" y="115"/>
                </a:lnTo>
                <a:lnTo>
                  <a:pt x="49" y="116"/>
                </a:lnTo>
                <a:lnTo>
                  <a:pt x="55" y="116"/>
                </a:lnTo>
                <a:lnTo>
                  <a:pt x="60" y="116"/>
                </a:lnTo>
                <a:lnTo>
                  <a:pt x="63" y="116"/>
                </a:lnTo>
                <a:lnTo>
                  <a:pt x="67" y="117"/>
                </a:lnTo>
                <a:lnTo>
                  <a:pt x="69" y="117"/>
                </a:lnTo>
                <a:lnTo>
                  <a:pt x="73" y="118"/>
                </a:lnTo>
                <a:lnTo>
                  <a:pt x="77" y="118"/>
                </a:lnTo>
                <a:lnTo>
                  <a:pt x="80" y="119"/>
                </a:lnTo>
                <a:lnTo>
                  <a:pt x="84" y="120"/>
                </a:lnTo>
                <a:lnTo>
                  <a:pt x="87" y="122"/>
                </a:lnTo>
                <a:lnTo>
                  <a:pt x="91" y="122"/>
                </a:lnTo>
                <a:lnTo>
                  <a:pt x="95" y="123"/>
                </a:lnTo>
                <a:lnTo>
                  <a:pt x="99" y="124"/>
                </a:lnTo>
                <a:lnTo>
                  <a:pt x="103" y="125"/>
                </a:lnTo>
                <a:lnTo>
                  <a:pt x="106" y="125"/>
                </a:lnTo>
                <a:lnTo>
                  <a:pt x="111" y="126"/>
                </a:lnTo>
                <a:lnTo>
                  <a:pt x="115" y="128"/>
                </a:lnTo>
                <a:lnTo>
                  <a:pt x="120" y="129"/>
                </a:lnTo>
                <a:lnTo>
                  <a:pt x="123" y="130"/>
                </a:lnTo>
                <a:lnTo>
                  <a:pt x="128" y="132"/>
                </a:lnTo>
                <a:lnTo>
                  <a:pt x="132" y="134"/>
                </a:lnTo>
                <a:lnTo>
                  <a:pt x="136" y="136"/>
                </a:lnTo>
                <a:lnTo>
                  <a:pt x="140" y="137"/>
                </a:lnTo>
                <a:lnTo>
                  <a:pt x="145" y="138"/>
                </a:lnTo>
                <a:lnTo>
                  <a:pt x="150" y="140"/>
                </a:lnTo>
                <a:lnTo>
                  <a:pt x="153" y="142"/>
                </a:lnTo>
                <a:lnTo>
                  <a:pt x="158" y="144"/>
                </a:lnTo>
                <a:lnTo>
                  <a:pt x="163" y="146"/>
                </a:lnTo>
                <a:lnTo>
                  <a:pt x="166" y="148"/>
                </a:lnTo>
                <a:lnTo>
                  <a:pt x="172" y="152"/>
                </a:lnTo>
                <a:lnTo>
                  <a:pt x="176" y="153"/>
                </a:lnTo>
                <a:lnTo>
                  <a:pt x="181" y="155"/>
                </a:lnTo>
                <a:lnTo>
                  <a:pt x="184" y="158"/>
                </a:lnTo>
                <a:lnTo>
                  <a:pt x="189" y="161"/>
                </a:lnTo>
                <a:lnTo>
                  <a:pt x="193" y="162"/>
                </a:lnTo>
                <a:lnTo>
                  <a:pt x="198" y="166"/>
                </a:lnTo>
                <a:lnTo>
                  <a:pt x="201" y="170"/>
                </a:lnTo>
                <a:lnTo>
                  <a:pt x="206" y="173"/>
                </a:lnTo>
                <a:lnTo>
                  <a:pt x="209" y="176"/>
                </a:lnTo>
                <a:lnTo>
                  <a:pt x="214" y="179"/>
                </a:lnTo>
                <a:lnTo>
                  <a:pt x="218" y="183"/>
                </a:lnTo>
                <a:lnTo>
                  <a:pt x="221" y="186"/>
                </a:lnTo>
                <a:lnTo>
                  <a:pt x="225" y="190"/>
                </a:lnTo>
                <a:lnTo>
                  <a:pt x="230" y="193"/>
                </a:lnTo>
                <a:lnTo>
                  <a:pt x="233" y="198"/>
                </a:lnTo>
                <a:lnTo>
                  <a:pt x="238" y="202"/>
                </a:lnTo>
                <a:lnTo>
                  <a:pt x="241" y="205"/>
                </a:lnTo>
                <a:lnTo>
                  <a:pt x="244" y="208"/>
                </a:lnTo>
                <a:lnTo>
                  <a:pt x="247" y="211"/>
                </a:lnTo>
                <a:lnTo>
                  <a:pt x="250" y="214"/>
                </a:lnTo>
                <a:lnTo>
                  <a:pt x="254" y="217"/>
                </a:lnTo>
                <a:lnTo>
                  <a:pt x="256" y="221"/>
                </a:lnTo>
                <a:lnTo>
                  <a:pt x="259" y="225"/>
                </a:lnTo>
                <a:lnTo>
                  <a:pt x="262" y="227"/>
                </a:lnTo>
                <a:lnTo>
                  <a:pt x="265" y="231"/>
                </a:lnTo>
                <a:lnTo>
                  <a:pt x="267" y="234"/>
                </a:lnTo>
                <a:lnTo>
                  <a:pt x="269" y="238"/>
                </a:lnTo>
                <a:lnTo>
                  <a:pt x="272" y="241"/>
                </a:lnTo>
                <a:lnTo>
                  <a:pt x="274" y="245"/>
                </a:lnTo>
                <a:lnTo>
                  <a:pt x="277" y="247"/>
                </a:lnTo>
                <a:lnTo>
                  <a:pt x="279" y="251"/>
                </a:lnTo>
                <a:lnTo>
                  <a:pt x="281" y="255"/>
                </a:lnTo>
                <a:lnTo>
                  <a:pt x="284" y="258"/>
                </a:lnTo>
                <a:lnTo>
                  <a:pt x="286" y="262"/>
                </a:lnTo>
                <a:lnTo>
                  <a:pt x="287" y="265"/>
                </a:lnTo>
                <a:lnTo>
                  <a:pt x="290" y="269"/>
                </a:lnTo>
                <a:lnTo>
                  <a:pt x="292" y="272"/>
                </a:lnTo>
                <a:lnTo>
                  <a:pt x="293" y="276"/>
                </a:lnTo>
                <a:lnTo>
                  <a:pt x="295" y="280"/>
                </a:lnTo>
                <a:lnTo>
                  <a:pt x="297" y="283"/>
                </a:lnTo>
                <a:lnTo>
                  <a:pt x="298" y="287"/>
                </a:lnTo>
                <a:lnTo>
                  <a:pt x="301" y="290"/>
                </a:lnTo>
                <a:lnTo>
                  <a:pt x="302" y="294"/>
                </a:lnTo>
                <a:lnTo>
                  <a:pt x="304" y="298"/>
                </a:lnTo>
                <a:lnTo>
                  <a:pt x="304" y="301"/>
                </a:lnTo>
                <a:lnTo>
                  <a:pt x="307" y="305"/>
                </a:lnTo>
                <a:lnTo>
                  <a:pt x="308" y="308"/>
                </a:lnTo>
                <a:lnTo>
                  <a:pt x="309" y="312"/>
                </a:lnTo>
                <a:lnTo>
                  <a:pt x="310" y="316"/>
                </a:lnTo>
                <a:lnTo>
                  <a:pt x="311" y="319"/>
                </a:lnTo>
                <a:lnTo>
                  <a:pt x="312" y="323"/>
                </a:lnTo>
                <a:lnTo>
                  <a:pt x="314" y="326"/>
                </a:lnTo>
                <a:lnTo>
                  <a:pt x="314" y="330"/>
                </a:lnTo>
                <a:lnTo>
                  <a:pt x="315" y="334"/>
                </a:lnTo>
                <a:lnTo>
                  <a:pt x="316" y="336"/>
                </a:lnTo>
                <a:lnTo>
                  <a:pt x="317" y="341"/>
                </a:lnTo>
                <a:lnTo>
                  <a:pt x="318" y="344"/>
                </a:lnTo>
                <a:lnTo>
                  <a:pt x="318" y="347"/>
                </a:lnTo>
                <a:lnTo>
                  <a:pt x="318" y="350"/>
                </a:lnTo>
                <a:lnTo>
                  <a:pt x="320" y="354"/>
                </a:lnTo>
                <a:lnTo>
                  <a:pt x="321" y="357"/>
                </a:lnTo>
                <a:lnTo>
                  <a:pt x="321" y="361"/>
                </a:lnTo>
                <a:lnTo>
                  <a:pt x="322" y="365"/>
                </a:lnTo>
                <a:lnTo>
                  <a:pt x="323" y="368"/>
                </a:lnTo>
                <a:lnTo>
                  <a:pt x="323" y="371"/>
                </a:lnTo>
                <a:lnTo>
                  <a:pt x="323" y="374"/>
                </a:lnTo>
                <a:lnTo>
                  <a:pt x="324" y="377"/>
                </a:lnTo>
                <a:lnTo>
                  <a:pt x="324" y="380"/>
                </a:lnTo>
                <a:lnTo>
                  <a:pt x="324" y="384"/>
                </a:lnTo>
                <a:lnTo>
                  <a:pt x="326" y="386"/>
                </a:lnTo>
                <a:lnTo>
                  <a:pt x="326" y="390"/>
                </a:lnTo>
                <a:lnTo>
                  <a:pt x="327" y="393"/>
                </a:lnTo>
                <a:lnTo>
                  <a:pt x="327" y="398"/>
                </a:lnTo>
                <a:lnTo>
                  <a:pt x="328" y="405"/>
                </a:lnTo>
                <a:lnTo>
                  <a:pt x="328" y="410"/>
                </a:lnTo>
                <a:lnTo>
                  <a:pt x="328" y="416"/>
                </a:lnTo>
                <a:lnTo>
                  <a:pt x="328" y="418"/>
                </a:lnTo>
                <a:lnTo>
                  <a:pt x="328" y="421"/>
                </a:lnTo>
                <a:lnTo>
                  <a:pt x="328" y="423"/>
                </a:lnTo>
                <a:lnTo>
                  <a:pt x="328" y="428"/>
                </a:lnTo>
                <a:lnTo>
                  <a:pt x="328" y="432"/>
                </a:lnTo>
                <a:lnTo>
                  <a:pt x="327" y="436"/>
                </a:lnTo>
                <a:lnTo>
                  <a:pt x="327" y="441"/>
                </a:lnTo>
                <a:lnTo>
                  <a:pt x="326" y="447"/>
                </a:lnTo>
                <a:lnTo>
                  <a:pt x="324" y="452"/>
                </a:lnTo>
                <a:lnTo>
                  <a:pt x="323" y="458"/>
                </a:lnTo>
                <a:lnTo>
                  <a:pt x="322" y="462"/>
                </a:lnTo>
                <a:lnTo>
                  <a:pt x="322" y="465"/>
                </a:lnTo>
                <a:lnTo>
                  <a:pt x="321" y="469"/>
                </a:lnTo>
                <a:lnTo>
                  <a:pt x="321" y="471"/>
                </a:lnTo>
                <a:lnTo>
                  <a:pt x="320" y="475"/>
                </a:lnTo>
                <a:lnTo>
                  <a:pt x="320" y="478"/>
                </a:lnTo>
                <a:lnTo>
                  <a:pt x="318" y="482"/>
                </a:lnTo>
                <a:lnTo>
                  <a:pt x="318" y="485"/>
                </a:lnTo>
                <a:lnTo>
                  <a:pt x="316" y="489"/>
                </a:lnTo>
                <a:lnTo>
                  <a:pt x="316" y="494"/>
                </a:lnTo>
                <a:lnTo>
                  <a:pt x="315" y="497"/>
                </a:lnTo>
                <a:lnTo>
                  <a:pt x="315" y="501"/>
                </a:lnTo>
                <a:lnTo>
                  <a:pt x="312" y="505"/>
                </a:lnTo>
                <a:lnTo>
                  <a:pt x="311" y="508"/>
                </a:lnTo>
                <a:lnTo>
                  <a:pt x="310" y="512"/>
                </a:lnTo>
                <a:lnTo>
                  <a:pt x="309" y="517"/>
                </a:lnTo>
                <a:lnTo>
                  <a:pt x="307" y="519"/>
                </a:lnTo>
                <a:lnTo>
                  <a:pt x="307" y="524"/>
                </a:lnTo>
                <a:lnTo>
                  <a:pt x="304" y="527"/>
                </a:lnTo>
                <a:lnTo>
                  <a:pt x="303" y="532"/>
                </a:lnTo>
                <a:lnTo>
                  <a:pt x="301" y="536"/>
                </a:lnTo>
                <a:lnTo>
                  <a:pt x="299" y="541"/>
                </a:lnTo>
                <a:lnTo>
                  <a:pt x="297" y="543"/>
                </a:lnTo>
                <a:lnTo>
                  <a:pt x="296" y="548"/>
                </a:lnTo>
                <a:lnTo>
                  <a:pt x="293" y="552"/>
                </a:lnTo>
                <a:lnTo>
                  <a:pt x="292" y="556"/>
                </a:lnTo>
                <a:lnTo>
                  <a:pt x="290" y="560"/>
                </a:lnTo>
                <a:lnTo>
                  <a:pt x="287" y="564"/>
                </a:lnTo>
                <a:lnTo>
                  <a:pt x="285" y="568"/>
                </a:lnTo>
                <a:lnTo>
                  <a:pt x="283" y="572"/>
                </a:lnTo>
                <a:lnTo>
                  <a:pt x="280" y="576"/>
                </a:lnTo>
                <a:lnTo>
                  <a:pt x="278" y="580"/>
                </a:lnTo>
                <a:lnTo>
                  <a:pt x="275" y="584"/>
                </a:lnTo>
                <a:lnTo>
                  <a:pt x="272" y="588"/>
                </a:lnTo>
                <a:lnTo>
                  <a:pt x="269" y="592"/>
                </a:lnTo>
                <a:lnTo>
                  <a:pt x="267" y="596"/>
                </a:lnTo>
                <a:lnTo>
                  <a:pt x="263" y="599"/>
                </a:lnTo>
                <a:lnTo>
                  <a:pt x="261" y="604"/>
                </a:lnTo>
                <a:lnTo>
                  <a:pt x="257" y="606"/>
                </a:lnTo>
                <a:lnTo>
                  <a:pt x="255" y="611"/>
                </a:lnTo>
                <a:lnTo>
                  <a:pt x="251" y="615"/>
                </a:lnTo>
                <a:lnTo>
                  <a:pt x="248" y="617"/>
                </a:lnTo>
                <a:lnTo>
                  <a:pt x="244" y="621"/>
                </a:lnTo>
                <a:lnTo>
                  <a:pt x="241" y="625"/>
                </a:lnTo>
                <a:lnTo>
                  <a:pt x="239" y="625"/>
                </a:lnTo>
                <a:lnTo>
                  <a:pt x="237" y="628"/>
                </a:lnTo>
                <a:lnTo>
                  <a:pt x="235" y="630"/>
                </a:lnTo>
                <a:lnTo>
                  <a:pt x="233" y="631"/>
                </a:lnTo>
                <a:lnTo>
                  <a:pt x="230" y="634"/>
                </a:lnTo>
                <a:lnTo>
                  <a:pt x="227" y="637"/>
                </a:lnTo>
                <a:lnTo>
                  <a:pt x="223" y="640"/>
                </a:lnTo>
                <a:lnTo>
                  <a:pt x="219" y="643"/>
                </a:lnTo>
                <a:lnTo>
                  <a:pt x="214" y="647"/>
                </a:lnTo>
                <a:lnTo>
                  <a:pt x="211" y="652"/>
                </a:lnTo>
                <a:lnTo>
                  <a:pt x="205" y="654"/>
                </a:lnTo>
                <a:lnTo>
                  <a:pt x="199" y="659"/>
                </a:lnTo>
                <a:lnTo>
                  <a:pt x="193" y="663"/>
                </a:lnTo>
                <a:lnTo>
                  <a:pt x="187" y="667"/>
                </a:lnTo>
                <a:lnTo>
                  <a:pt x="183" y="669"/>
                </a:lnTo>
                <a:lnTo>
                  <a:pt x="180" y="671"/>
                </a:lnTo>
                <a:lnTo>
                  <a:pt x="176" y="673"/>
                </a:lnTo>
                <a:lnTo>
                  <a:pt x="174" y="676"/>
                </a:lnTo>
                <a:lnTo>
                  <a:pt x="169" y="677"/>
                </a:lnTo>
                <a:lnTo>
                  <a:pt x="165" y="678"/>
                </a:lnTo>
                <a:lnTo>
                  <a:pt x="162" y="681"/>
                </a:lnTo>
                <a:lnTo>
                  <a:pt x="157" y="683"/>
                </a:lnTo>
                <a:lnTo>
                  <a:pt x="152" y="685"/>
                </a:lnTo>
                <a:lnTo>
                  <a:pt x="148" y="687"/>
                </a:lnTo>
                <a:lnTo>
                  <a:pt x="144" y="689"/>
                </a:lnTo>
                <a:lnTo>
                  <a:pt x="139" y="690"/>
                </a:lnTo>
                <a:lnTo>
                  <a:pt x="134" y="691"/>
                </a:lnTo>
                <a:lnTo>
                  <a:pt x="129" y="694"/>
                </a:lnTo>
                <a:lnTo>
                  <a:pt x="126" y="695"/>
                </a:lnTo>
                <a:lnTo>
                  <a:pt x="121" y="697"/>
                </a:lnTo>
                <a:lnTo>
                  <a:pt x="115" y="698"/>
                </a:lnTo>
                <a:lnTo>
                  <a:pt x="110" y="701"/>
                </a:lnTo>
                <a:lnTo>
                  <a:pt x="104" y="701"/>
                </a:lnTo>
                <a:lnTo>
                  <a:pt x="99" y="703"/>
                </a:lnTo>
                <a:lnTo>
                  <a:pt x="93" y="704"/>
                </a:lnTo>
                <a:lnTo>
                  <a:pt x="89" y="706"/>
                </a:lnTo>
                <a:lnTo>
                  <a:pt x="83" y="707"/>
                </a:lnTo>
                <a:lnTo>
                  <a:pt x="77" y="708"/>
                </a:lnTo>
                <a:lnTo>
                  <a:pt x="71" y="708"/>
                </a:lnTo>
                <a:lnTo>
                  <a:pt x="65" y="709"/>
                </a:lnTo>
                <a:lnTo>
                  <a:pt x="57" y="710"/>
                </a:lnTo>
                <a:lnTo>
                  <a:pt x="53" y="712"/>
                </a:lnTo>
                <a:lnTo>
                  <a:pt x="45" y="712"/>
                </a:lnTo>
                <a:lnTo>
                  <a:pt x="39" y="713"/>
                </a:lnTo>
                <a:lnTo>
                  <a:pt x="32" y="713"/>
                </a:lnTo>
                <a:lnTo>
                  <a:pt x="26" y="714"/>
                </a:lnTo>
                <a:close/>
              </a:path>
            </a:pathLst>
          </a:custGeom>
          <a:solidFill>
            <a:srgbClr val="CED4FE"/>
          </a:solidFill>
          <a:ln w="9525" cap="flat" cmpd="sng">
            <a:noFill/>
            <a:prstDash val="solid"/>
            <a:round/>
            <a:headEnd type="none" w="med" len="med"/>
            <a:tailEnd type="none" w="med" len="med"/>
          </a:ln>
        </p:spPr>
        <p:txBody>
          <a:bodyPr/>
          <a:lstStyle/>
          <a:p>
            <a:endParaRPr lang="en-US"/>
          </a:p>
        </p:txBody>
      </p:sp>
      <p:sp>
        <p:nvSpPr>
          <p:cNvPr id="50180" name="Freeform 5"/>
          <p:cNvSpPr>
            <a:spLocks noChangeAspect="1"/>
          </p:cNvSpPr>
          <p:nvPr/>
        </p:nvSpPr>
        <p:spPr bwMode="gray">
          <a:xfrm rot="872276">
            <a:off x="3360738" y="2876550"/>
            <a:ext cx="1093787" cy="1978025"/>
          </a:xfrm>
          <a:custGeom>
            <a:avLst/>
            <a:gdLst>
              <a:gd name="T0" fmla="*/ 2147483647 w 443"/>
              <a:gd name="T1" fmla="*/ 2147483647 h 830"/>
              <a:gd name="T2" fmla="*/ 2147483647 w 443"/>
              <a:gd name="T3" fmla="*/ 2147483647 h 830"/>
              <a:gd name="T4" fmla="*/ 2147483647 w 443"/>
              <a:gd name="T5" fmla="*/ 2147483647 h 830"/>
              <a:gd name="T6" fmla="*/ 0 w 443"/>
              <a:gd name="T7" fmla="*/ 2147483647 h 830"/>
              <a:gd name="T8" fmla="*/ 0 w 443"/>
              <a:gd name="T9" fmla="*/ 2147483647 h 830"/>
              <a:gd name="T10" fmla="*/ 0 w 443"/>
              <a:gd name="T11" fmla="*/ 2147483647 h 830"/>
              <a:gd name="T12" fmla="*/ 2147483647 w 443"/>
              <a:gd name="T13" fmla="*/ 2147483647 h 830"/>
              <a:gd name="T14" fmla="*/ 2147483647 w 443"/>
              <a:gd name="T15" fmla="*/ 2147483647 h 830"/>
              <a:gd name="T16" fmla="*/ 2147483647 w 443"/>
              <a:gd name="T17" fmla="*/ 2147483647 h 830"/>
              <a:gd name="T18" fmla="*/ 2147483647 w 443"/>
              <a:gd name="T19" fmla="*/ 2147483647 h 830"/>
              <a:gd name="T20" fmla="*/ 2147483647 w 443"/>
              <a:gd name="T21" fmla="*/ 2147483647 h 830"/>
              <a:gd name="T22" fmla="*/ 2147483647 w 443"/>
              <a:gd name="T23" fmla="*/ 2147483647 h 830"/>
              <a:gd name="T24" fmla="*/ 2147483647 w 443"/>
              <a:gd name="T25" fmla="*/ 2147483647 h 830"/>
              <a:gd name="T26" fmla="*/ 2147483647 w 443"/>
              <a:gd name="T27" fmla="*/ 2147483647 h 830"/>
              <a:gd name="T28" fmla="*/ 2147483647 w 443"/>
              <a:gd name="T29" fmla="*/ 2147483647 h 830"/>
              <a:gd name="T30" fmla="*/ 2147483647 w 443"/>
              <a:gd name="T31" fmla="*/ 2147483647 h 830"/>
              <a:gd name="T32" fmla="*/ 2147483647 w 443"/>
              <a:gd name="T33" fmla="*/ 2147483647 h 830"/>
              <a:gd name="T34" fmla="*/ 2147483647 w 443"/>
              <a:gd name="T35" fmla="*/ 2147483647 h 830"/>
              <a:gd name="T36" fmla="*/ 2147483647 w 443"/>
              <a:gd name="T37" fmla="*/ 2147483647 h 830"/>
              <a:gd name="T38" fmla="*/ 2147483647 w 443"/>
              <a:gd name="T39" fmla="*/ 2147483647 h 830"/>
              <a:gd name="T40" fmla="*/ 2147483647 w 443"/>
              <a:gd name="T41" fmla="*/ 2147483647 h 830"/>
              <a:gd name="T42" fmla="*/ 2147483647 w 443"/>
              <a:gd name="T43" fmla="*/ 2147483647 h 830"/>
              <a:gd name="T44" fmla="*/ 2147483647 w 443"/>
              <a:gd name="T45" fmla="*/ 2147483647 h 830"/>
              <a:gd name="T46" fmla="*/ 2147483647 w 443"/>
              <a:gd name="T47" fmla="*/ 2147483647 h 830"/>
              <a:gd name="T48" fmla="*/ 2147483647 w 443"/>
              <a:gd name="T49" fmla="*/ 2147483647 h 830"/>
              <a:gd name="T50" fmla="*/ 2147483647 w 443"/>
              <a:gd name="T51" fmla="*/ 2147483647 h 830"/>
              <a:gd name="T52" fmla="*/ 2147483647 w 443"/>
              <a:gd name="T53" fmla="*/ 2147483647 h 830"/>
              <a:gd name="T54" fmla="*/ 2147483647 w 443"/>
              <a:gd name="T55" fmla="*/ 2147483647 h 830"/>
              <a:gd name="T56" fmla="*/ 2147483647 w 443"/>
              <a:gd name="T57" fmla="*/ 2147483647 h 830"/>
              <a:gd name="T58" fmla="*/ 2147483647 w 443"/>
              <a:gd name="T59" fmla="*/ 2147483647 h 830"/>
              <a:gd name="T60" fmla="*/ 2147483647 w 443"/>
              <a:gd name="T61" fmla="*/ 2147483647 h 830"/>
              <a:gd name="T62" fmla="*/ 2147483647 w 443"/>
              <a:gd name="T63" fmla="*/ 2147483647 h 830"/>
              <a:gd name="T64" fmla="*/ 2147483647 w 443"/>
              <a:gd name="T65" fmla="*/ 2147483647 h 830"/>
              <a:gd name="T66" fmla="*/ 2147483647 w 443"/>
              <a:gd name="T67" fmla="*/ 2147483647 h 830"/>
              <a:gd name="T68" fmla="*/ 2147483647 w 443"/>
              <a:gd name="T69" fmla="*/ 2147483647 h 830"/>
              <a:gd name="T70" fmla="*/ 2147483647 w 443"/>
              <a:gd name="T71" fmla="*/ 2147483647 h 830"/>
              <a:gd name="T72" fmla="*/ 2147483647 w 443"/>
              <a:gd name="T73" fmla="*/ 2147483647 h 830"/>
              <a:gd name="T74" fmla="*/ 2147483647 w 443"/>
              <a:gd name="T75" fmla="*/ 2147483647 h 830"/>
              <a:gd name="T76" fmla="*/ 2147483647 w 443"/>
              <a:gd name="T77" fmla="*/ 2147483647 h 830"/>
              <a:gd name="T78" fmla="*/ 2147483647 w 443"/>
              <a:gd name="T79" fmla="*/ 2147483647 h 830"/>
              <a:gd name="T80" fmla="*/ 2147483647 w 443"/>
              <a:gd name="T81" fmla="*/ 2147483647 h 830"/>
              <a:gd name="T82" fmla="*/ 2147483647 w 443"/>
              <a:gd name="T83" fmla="*/ 2147483647 h 830"/>
              <a:gd name="T84" fmla="*/ 2147483647 w 443"/>
              <a:gd name="T85" fmla="*/ 2147483647 h 830"/>
              <a:gd name="T86" fmla="*/ 2147483647 w 443"/>
              <a:gd name="T87" fmla="*/ 2147483647 h 830"/>
              <a:gd name="T88" fmla="*/ 2147483647 w 443"/>
              <a:gd name="T89" fmla="*/ 2147483647 h 830"/>
              <a:gd name="T90" fmla="*/ 2147483647 w 443"/>
              <a:gd name="T91" fmla="*/ 2147483647 h 830"/>
              <a:gd name="T92" fmla="*/ 2147483647 w 443"/>
              <a:gd name="T93" fmla="*/ 2147483647 h 830"/>
              <a:gd name="T94" fmla="*/ 2147483647 w 443"/>
              <a:gd name="T95" fmla="*/ 2147483647 h 830"/>
              <a:gd name="T96" fmla="*/ 2147483647 w 443"/>
              <a:gd name="T97" fmla="*/ 2147483647 h 830"/>
              <a:gd name="T98" fmla="*/ 2147483647 w 443"/>
              <a:gd name="T99" fmla="*/ 2147483647 h 830"/>
              <a:gd name="T100" fmla="*/ 2147483647 w 443"/>
              <a:gd name="T101" fmla="*/ 2147483647 h 83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43"/>
              <a:gd name="T154" fmla="*/ 0 h 830"/>
              <a:gd name="T155" fmla="*/ 443 w 443"/>
              <a:gd name="T156" fmla="*/ 830 h 83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43" h="830">
                <a:moveTo>
                  <a:pt x="415" y="115"/>
                </a:moveTo>
                <a:lnTo>
                  <a:pt x="414" y="0"/>
                </a:lnTo>
                <a:lnTo>
                  <a:pt x="376" y="0"/>
                </a:lnTo>
                <a:lnTo>
                  <a:pt x="362" y="51"/>
                </a:lnTo>
                <a:lnTo>
                  <a:pt x="284" y="73"/>
                </a:lnTo>
                <a:lnTo>
                  <a:pt x="232" y="37"/>
                </a:lnTo>
                <a:lnTo>
                  <a:pt x="176" y="71"/>
                </a:lnTo>
                <a:lnTo>
                  <a:pt x="178" y="130"/>
                </a:lnTo>
                <a:lnTo>
                  <a:pt x="136" y="176"/>
                </a:lnTo>
                <a:lnTo>
                  <a:pt x="78" y="166"/>
                </a:lnTo>
                <a:lnTo>
                  <a:pt x="39" y="231"/>
                </a:lnTo>
                <a:lnTo>
                  <a:pt x="73" y="278"/>
                </a:lnTo>
                <a:lnTo>
                  <a:pt x="50" y="360"/>
                </a:lnTo>
                <a:lnTo>
                  <a:pt x="1" y="368"/>
                </a:lnTo>
                <a:lnTo>
                  <a:pt x="1" y="372"/>
                </a:lnTo>
                <a:lnTo>
                  <a:pt x="0" y="378"/>
                </a:lnTo>
                <a:lnTo>
                  <a:pt x="0" y="383"/>
                </a:lnTo>
                <a:lnTo>
                  <a:pt x="0" y="387"/>
                </a:lnTo>
                <a:lnTo>
                  <a:pt x="0" y="393"/>
                </a:lnTo>
                <a:lnTo>
                  <a:pt x="0" y="398"/>
                </a:lnTo>
                <a:lnTo>
                  <a:pt x="0" y="403"/>
                </a:lnTo>
                <a:lnTo>
                  <a:pt x="0" y="409"/>
                </a:lnTo>
                <a:lnTo>
                  <a:pt x="0" y="414"/>
                </a:lnTo>
                <a:lnTo>
                  <a:pt x="0" y="420"/>
                </a:lnTo>
                <a:lnTo>
                  <a:pt x="0" y="424"/>
                </a:lnTo>
                <a:lnTo>
                  <a:pt x="0" y="429"/>
                </a:lnTo>
                <a:lnTo>
                  <a:pt x="0" y="434"/>
                </a:lnTo>
                <a:lnTo>
                  <a:pt x="0" y="440"/>
                </a:lnTo>
                <a:lnTo>
                  <a:pt x="0" y="445"/>
                </a:lnTo>
                <a:lnTo>
                  <a:pt x="0" y="451"/>
                </a:lnTo>
                <a:lnTo>
                  <a:pt x="51" y="465"/>
                </a:lnTo>
                <a:lnTo>
                  <a:pt x="73" y="543"/>
                </a:lnTo>
                <a:lnTo>
                  <a:pt x="43" y="603"/>
                </a:lnTo>
                <a:lnTo>
                  <a:pt x="60" y="635"/>
                </a:lnTo>
                <a:lnTo>
                  <a:pt x="132" y="648"/>
                </a:lnTo>
                <a:lnTo>
                  <a:pt x="175" y="690"/>
                </a:lnTo>
                <a:lnTo>
                  <a:pt x="181" y="760"/>
                </a:lnTo>
                <a:lnTo>
                  <a:pt x="215" y="781"/>
                </a:lnTo>
                <a:lnTo>
                  <a:pt x="279" y="754"/>
                </a:lnTo>
                <a:lnTo>
                  <a:pt x="360" y="776"/>
                </a:lnTo>
                <a:lnTo>
                  <a:pt x="393" y="830"/>
                </a:lnTo>
                <a:lnTo>
                  <a:pt x="417" y="828"/>
                </a:lnTo>
                <a:lnTo>
                  <a:pt x="443" y="775"/>
                </a:lnTo>
                <a:lnTo>
                  <a:pt x="414" y="714"/>
                </a:lnTo>
                <a:lnTo>
                  <a:pt x="413" y="714"/>
                </a:lnTo>
                <a:lnTo>
                  <a:pt x="408" y="714"/>
                </a:lnTo>
                <a:lnTo>
                  <a:pt x="403" y="714"/>
                </a:lnTo>
                <a:lnTo>
                  <a:pt x="401" y="714"/>
                </a:lnTo>
                <a:lnTo>
                  <a:pt x="396" y="713"/>
                </a:lnTo>
                <a:lnTo>
                  <a:pt x="391" y="713"/>
                </a:lnTo>
                <a:lnTo>
                  <a:pt x="387" y="712"/>
                </a:lnTo>
                <a:lnTo>
                  <a:pt x="381" y="710"/>
                </a:lnTo>
                <a:lnTo>
                  <a:pt x="377" y="710"/>
                </a:lnTo>
                <a:lnTo>
                  <a:pt x="373" y="709"/>
                </a:lnTo>
                <a:lnTo>
                  <a:pt x="370" y="709"/>
                </a:lnTo>
                <a:lnTo>
                  <a:pt x="368" y="709"/>
                </a:lnTo>
                <a:lnTo>
                  <a:pt x="364" y="708"/>
                </a:lnTo>
                <a:lnTo>
                  <a:pt x="360" y="707"/>
                </a:lnTo>
                <a:lnTo>
                  <a:pt x="356" y="707"/>
                </a:lnTo>
                <a:lnTo>
                  <a:pt x="353" y="706"/>
                </a:lnTo>
                <a:lnTo>
                  <a:pt x="348" y="704"/>
                </a:lnTo>
                <a:lnTo>
                  <a:pt x="345" y="704"/>
                </a:lnTo>
                <a:lnTo>
                  <a:pt x="341" y="703"/>
                </a:lnTo>
                <a:lnTo>
                  <a:pt x="338" y="702"/>
                </a:lnTo>
                <a:lnTo>
                  <a:pt x="333" y="701"/>
                </a:lnTo>
                <a:lnTo>
                  <a:pt x="329" y="700"/>
                </a:lnTo>
                <a:lnTo>
                  <a:pt x="324" y="698"/>
                </a:lnTo>
                <a:lnTo>
                  <a:pt x="321" y="697"/>
                </a:lnTo>
                <a:lnTo>
                  <a:pt x="316" y="696"/>
                </a:lnTo>
                <a:lnTo>
                  <a:pt x="312" y="695"/>
                </a:lnTo>
                <a:lnTo>
                  <a:pt x="308" y="693"/>
                </a:lnTo>
                <a:lnTo>
                  <a:pt x="304" y="691"/>
                </a:lnTo>
                <a:lnTo>
                  <a:pt x="299" y="689"/>
                </a:lnTo>
                <a:lnTo>
                  <a:pt x="294" y="688"/>
                </a:lnTo>
                <a:lnTo>
                  <a:pt x="290" y="687"/>
                </a:lnTo>
                <a:lnTo>
                  <a:pt x="286" y="684"/>
                </a:lnTo>
                <a:lnTo>
                  <a:pt x="281" y="682"/>
                </a:lnTo>
                <a:lnTo>
                  <a:pt x="276" y="679"/>
                </a:lnTo>
                <a:lnTo>
                  <a:pt x="272" y="677"/>
                </a:lnTo>
                <a:lnTo>
                  <a:pt x="268" y="676"/>
                </a:lnTo>
                <a:lnTo>
                  <a:pt x="263" y="673"/>
                </a:lnTo>
                <a:lnTo>
                  <a:pt x="259" y="671"/>
                </a:lnTo>
                <a:lnTo>
                  <a:pt x="255" y="667"/>
                </a:lnTo>
                <a:lnTo>
                  <a:pt x="250" y="665"/>
                </a:lnTo>
                <a:lnTo>
                  <a:pt x="245" y="663"/>
                </a:lnTo>
                <a:lnTo>
                  <a:pt x="242" y="659"/>
                </a:lnTo>
                <a:lnTo>
                  <a:pt x="237" y="657"/>
                </a:lnTo>
                <a:lnTo>
                  <a:pt x="233" y="653"/>
                </a:lnTo>
                <a:lnTo>
                  <a:pt x="229" y="651"/>
                </a:lnTo>
                <a:lnTo>
                  <a:pt x="225" y="647"/>
                </a:lnTo>
                <a:lnTo>
                  <a:pt x="220" y="643"/>
                </a:lnTo>
                <a:lnTo>
                  <a:pt x="218" y="640"/>
                </a:lnTo>
                <a:lnTo>
                  <a:pt x="213" y="636"/>
                </a:lnTo>
                <a:lnTo>
                  <a:pt x="209" y="633"/>
                </a:lnTo>
                <a:lnTo>
                  <a:pt x="206" y="628"/>
                </a:lnTo>
                <a:lnTo>
                  <a:pt x="202" y="625"/>
                </a:lnTo>
                <a:lnTo>
                  <a:pt x="199" y="622"/>
                </a:lnTo>
                <a:lnTo>
                  <a:pt x="196" y="618"/>
                </a:lnTo>
                <a:lnTo>
                  <a:pt x="193" y="615"/>
                </a:lnTo>
                <a:lnTo>
                  <a:pt x="189" y="612"/>
                </a:lnTo>
                <a:lnTo>
                  <a:pt x="185" y="609"/>
                </a:lnTo>
                <a:lnTo>
                  <a:pt x="183" y="605"/>
                </a:lnTo>
                <a:lnTo>
                  <a:pt x="181" y="603"/>
                </a:lnTo>
                <a:lnTo>
                  <a:pt x="178" y="599"/>
                </a:lnTo>
                <a:lnTo>
                  <a:pt x="175" y="596"/>
                </a:lnTo>
                <a:lnTo>
                  <a:pt x="172" y="592"/>
                </a:lnTo>
                <a:lnTo>
                  <a:pt x="170" y="590"/>
                </a:lnTo>
                <a:lnTo>
                  <a:pt x="167" y="586"/>
                </a:lnTo>
                <a:lnTo>
                  <a:pt x="165" y="582"/>
                </a:lnTo>
                <a:lnTo>
                  <a:pt x="163" y="579"/>
                </a:lnTo>
                <a:lnTo>
                  <a:pt x="160" y="575"/>
                </a:lnTo>
                <a:lnTo>
                  <a:pt x="159" y="572"/>
                </a:lnTo>
                <a:lnTo>
                  <a:pt x="156" y="568"/>
                </a:lnTo>
                <a:lnTo>
                  <a:pt x="153" y="564"/>
                </a:lnTo>
                <a:lnTo>
                  <a:pt x="151" y="561"/>
                </a:lnTo>
                <a:lnTo>
                  <a:pt x="150" y="557"/>
                </a:lnTo>
                <a:lnTo>
                  <a:pt x="148" y="554"/>
                </a:lnTo>
                <a:lnTo>
                  <a:pt x="146" y="550"/>
                </a:lnTo>
                <a:lnTo>
                  <a:pt x="145" y="547"/>
                </a:lnTo>
                <a:lnTo>
                  <a:pt x="142" y="543"/>
                </a:lnTo>
                <a:lnTo>
                  <a:pt x="141" y="539"/>
                </a:lnTo>
                <a:lnTo>
                  <a:pt x="139" y="536"/>
                </a:lnTo>
                <a:lnTo>
                  <a:pt x="138" y="532"/>
                </a:lnTo>
                <a:lnTo>
                  <a:pt x="136" y="529"/>
                </a:lnTo>
                <a:lnTo>
                  <a:pt x="135" y="525"/>
                </a:lnTo>
                <a:lnTo>
                  <a:pt x="134" y="521"/>
                </a:lnTo>
                <a:lnTo>
                  <a:pt x="133" y="518"/>
                </a:lnTo>
                <a:lnTo>
                  <a:pt x="132" y="515"/>
                </a:lnTo>
                <a:lnTo>
                  <a:pt x="130" y="511"/>
                </a:lnTo>
                <a:lnTo>
                  <a:pt x="129" y="507"/>
                </a:lnTo>
                <a:lnTo>
                  <a:pt x="128" y="503"/>
                </a:lnTo>
                <a:lnTo>
                  <a:pt x="127" y="500"/>
                </a:lnTo>
                <a:lnTo>
                  <a:pt x="126" y="496"/>
                </a:lnTo>
                <a:lnTo>
                  <a:pt x="126" y="493"/>
                </a:lnTo>
                <a:lnTo>
                  <a:pt x="124" y="489"/>
                </a:lnTo>
                <a:lnTo>
                  <a:pt x="123" y="485"/>
                </a:lnTo>
                <a:lnTo>
                  <a:pt x="122" y="482"/>
                </a:lnTo>
                <a:lnTo>
                  <a:pt x="122" y="479"/>
                </a:lnTo>
                <a:lnTo>
                  <a:pt x="121" y="476"/>
                </a:lnTo>
                <a:lnTo>
                  <a:pt x="120" y="472"/>
                </a:lnTo>
                <a:lnTo>
                  <a:pt x="120" y="469"/>
                </a:lnTo>
                <a:lnTo>
                  <a:pt x="118" y="465"/>
                </a:lnTo>
                <a:lnTo>
                  <a:pt x="118" y="462"/>
                </a:lnTo>
                <a:lnTo>
                  <a:pt x="118" y="459"/>
                </a:lnTo>
                <a:lnTo>
                  <a:pt x="117" y="456"/>
                </a:lnTo>
                <a:lnTo>
                  <a:pt x="116" y="452"/>
                </a:lnTo>
                <a:lnTo>
                  <a:pt x="116" y="448"/>
                </a:lnTo>
                <a:lnTo>
                  <a:pt x="116" y="445"/>
                </a:lnTo>
                <a:lnTo>
                  <a:pt x="115" y="439"/>
                </a:lnTo>
                <a:lnTo>
                  <a:pt x="115" y="433"/>
                </a:lnTo>
                <a:lnTo>
                  <a:pt x="114" y="427"/>
                </a:lnTo>
                <a:lnTo>
                  <a:pt x="114" y="421"/>
                </a:lnTo>
                <a:lnTo>
                  <a:pt x="114" y="416"/>
                </a:lnTo>
                <a:lnTo>
                  <a:pt x="114" y="411"/>
                </a:lnTo>
                <a:lnTo>
                  <a:pt x="114" y="408"/>
                </a:lnTo>
                <a:lnTo>
                  <a:pt x="114" y="405"/>
                </a:lnTo>
                <a:lnTo>
                  <a:pt x="114" y="402"/>
                </a:lnTo>
                <a:lnTo>
                  <a:pt x="114" y="398"/>
                </a:lnTo>
                <a:lnTo>
                  <a:pt x="114" y="395"/>
                </a:lnTo>
                <a:lnTo>
                  <a:pt x="114" y="390"/>
                </a:lnTo>
                <a:lnTo>
                  <a:pt x="115" y="385"/>
                </a:lnTo>
                <a:lnTo>
                  <a:pt x="116" y="380"/>
                </a:lnTo>
                <a:lnTo>
                  <a:pt x="116" y="373"/>
                </a:lnTo>
                <a:lnTo>
                  <a:pt x="117" y="368"/>
                </a:lnTo>
                <a:lnTo>
                  <a:pt x="117" y="365"/>
                </a:lnTo>
                <a:lnTo>
                  <a:pt x="118" y="361"/>
                </a:lnTo>
                <a:lnTo>
                  <a:pt x="118" y="357"/>
                </a:lnTo>
                <a:lnTo>
                  <a:pt x="120" y="355"/>
                </a:lnTo>
                <a:lnTo>
                  <a:pt x="120" y="350"/>
                </a:lnTo>
                <a:lnTo>
                  <a:pt x="121" y="347"/>
                </a:lnTo>
                <a:lnTo>
                  <a:pt x="122" y="344"/>
                </a:lnTo>
                <a:lnTo>
                  <a:pt x="123" y="341"/>
                </a:lnTo>
                <a:lnTo>
                  <a:pt x="123" y="336"/>
                </a:lnTo>
                <a:lnTo>
                  <a:pt x="124" y="334"/>
                </a:lnTo>
                <a:lnTo>
                  <a:pt x="126" y="330"/>
                </a:lnTo>
                <a:lnTo>
                  <a:pt x="127" y="326"/>
                </a:lnTo>
                <a:lnTo>
                  <a:pt x="128" y="322"/>
                </a:lnTo>
                <a:lnTo>
                  <a:pt x="129" y="318"/>
                </a:lnTo>
                <a:lnTo>
                  <a:pt x="130" y="313"/>
                </a:lnTo>
                <a:lnTo>
                  <a:pt x="132" y="311"/>
                </a:lnTo>
                <a:lnTo>
                  <a:pt x="133" y="306"/>
                </a:lnTo>
                <a:lnTo>
                  <a:pt x="134" y="302"/>
                </a:lnTo>
                <a:lnTo>
                  <a:pt x="136" y="298"/>
                </a:lnTo>
                <a:lnTo>
                  <a:pt x="138" y="294"/>
                </a:lnTo>
                <a:lnTo>
                  <a:pt x="139" y="289"/>
                </a:lnTo>
                <a:lnTo>
                  <a:pt x="141" y="286"/>
                </a:lnTo>
                <a:lnTo>
                  <a:pt x="142" y="282"/>
                </a:lnTo>
                <a:lnTo>
                  <a:pt x="145" y="278"/>
                </a:lnTo>
                <a:lnTo>
                  <a:pt x="146" y="274"/>
                </a:lnTo>
                <a:lnTo>
                  <a:pt x="148" y="270"/>
                </a:lnTo>
                <a:lnTo>
                  <a:pt x="151" y="266"/>
                </a:lnTo>
                <a:lnTo>
                  <a:pt x="153" y="263"/>
                </a:lnTo>
                <a:lnTo>
                  <a:pt x="156" y="258"/>
                </a:lnTo>
                <a:lnTo>
                  <a:pt x="158" y="255"/>
                </a:lnTo>
                <a:lnTo>
                  <a:pt x="160" y="250"/>
                </a:lnTo>
                <a:lnTo>
                  <a:pt x="163" y="247"/>
                </a:lnTo>
                <a:lnTo>
                  <a:pt x="165" y="243"/>
                </a:lnTo>
                <a:lnTo>
                  <a:pt x="167" y="239"/>
                </a:lnTo>
                <a:lnTo>
                  <a:pt x="171" y="235"/>
                </a:lnTo>
                <a:lnTo>
                  <a:pt x="173" y="232"/>
                </a:lnTo>
                <a:lnTo>
                  <a:pt x="177" y="227"/>
                </a:lnTo>
                <a:lnTo>
                  <a:pt x="179" y="225"/>
                </a:lnTo>
                <a:lnTo>
                  <a:pt x="183" y="221"/>
                </a:lnTo>
                <a:lnTo>
                  <a:pt x="187" y="217"/>
                </a:lnTo>
                <a:lnTo>
                  <a:pt x="190" y="214"/>
                </a:lnTo>
                <a:lnTo>
                  <a:pt x="194" y="210"/>
                </a:lnTo>
                <a:lnTo>
                  <a:pt x="197" y="207"/>
                </a:lnTo>
                <a:lnTo>
                  <a:pt x="201" y="204"/>
                </a:lnTo>
                <a:lnTo>
                  <a:pt x="202" y="203"/>
                </a:lnTo>
                <a:lnTo>
                  <a:pt x="205" y="201"/>
                </a:lnTo>
                <a:lnTo>
                  <a:pt x="206" y="198"/>
                </a:lnTo>
                <a:lnTo>
                  <a:pt x="208" y="196"/>
                </a:lnTo>
                <a:lnTo>
                  <a:pt x="211" y="192"/>
                </a:lnTo>
                <a:lnTo>
                  <a:pt x="214" y="190"/>
                </a:lnTo>
                <a:lnTo>
                  <a:pt x="218" y="186"/>
                </a:lnTo>
                <a:lnTo>
                  <a:pt x="221" y="184"/>
                </a:lnTo>
                <a:lnTo>
                  <a:pt x="226" y="179"/>
                </a:lnTo>
                <a:lnTo>
                  <a:pt x="231" y="176"/>
                </a:lnTo>
                <a:lnTo>
                  <a:pt x="236" y="172"/>
                </a:lnTo>
                <a:lnTo>
                  <a:pt x="242" y="168"/>
                </a:lnTo>
                <a:lnTo>
                  <a:pt x="244" y="166"/>
                </a:lnTo>
                <a:lnTo>
                  <a:pt x="248" y="164"/>
                </a:lnTo>
                <a:lnTo>
                  <a:pt x="251" y="162"/>
                </a:lnTo>
                <a:lnTo>
                  <a:pt x="255" y="161"/>
                </a:lnTo>
                <a:lnTo>
                  <a:pt x="257" y="159"/>
                </a:lnTo>
                <a:lnTo>
                  <a:pt x="261" y="156"/>
                </a:lnTo>
                <a:lnTo>
                  <a:pt x="264" y="154"/>
                </a:lnTo>
                <a:lnTo>
                  <a:pt x="268" y="152"/>
                </a:lnTo>
                <a:lnTo>
                  <a:pt x="272" y="150"/>
                </a:lnTo>
                <a:lnTo>
                  <a:pt x="275" y="148"/>
                </a:lnTo>
                <a:lnTo>
                  <a:pt x="280" y="146"/>
                </a:lnTo>
                <a:lnTo>
                  <a:pt x="284" y="144"/>
                </a:lnTo>
                <a:lnTo>
                  <a:pt x="288" y="142"/>
                </a:lnTo>
                <a:lnTo>
                  <a:pt x="292" y="140"/>
                </a:lnTo>
                <a:lnTo>
                  <a:pt x="297" y="137"/>
                </a:lnTo>
                <a:lnTo>
                  <a:pt x="302" y="136"/>
                </a:lnTo>
                <a:lnTo>
                  <a:pt x="305" y="135"/>
                </a:lnTo>
                <a:lnTo>
                  <a:pt x="311" y="132"/>
                </a:lnTo>
                <a:lnTo>
                  <a:pt x="316" y="131"/>
                </a:lnTo>
                <a:lnTo>
                  <a:pt x="321" y="130"/>
                </a:lnTo>
                <a:lnTo>
                  <a:pt x="326" y="128"/>
                </a:lnTo>
                <a:lnTo>
                  <a:pt x="330" y="126"/>
                </a:lnTo>
                <a:lnTo>
                  <a:pt x="336" y="125"/>
                </a:lnTo>
                <a:lnTo>
                  <a:pt x="341" y="124"/>
                </a:lnTo>
                <a:lnTo>
                  <a:pt x="347" y="122"/>
                </a:lnTo>
                <a:lnTo>
                  <a:pt x="353" y="120"/>
                </a:lnTo>
                <a:lnTo>
                  <a:pt x="358" y="119"/>
                </a:lnTo>
                <a:lnTo>
                  <a:pt x="365" y="119"/>
                </a:lnTo>
                <a:lnTo>
                  <a:pt x="370" y="117"/>
                </a:lnTo>
                <a:lnTo>
                  <a:pt x="377" y="117"/>
                </a:lnTo>
                <a:lnTo>
                  <a:pt x="382" y="116"/>
                </a:lnTo>
                <a:lnTo>
                  <a:pt x="389" y="116"/>
                </a:lnTo>
                <a:lnTo>
                  <a:pt x="395" y="115"/>
                </a:lnTo>
                <a:lnTo>
                  <a:pt x="401" y="115"/>
                </a:lnTo>
                <a:lnTo>
                  <a:pt x="408" y="115"/>
                </a:lnTo>
                <a:lnTo>
                  <a:pt x="415" y="115"/>
                </a:lnTo>
                <a:close/>
              </a:path>
            </a:pathLst>
          </a:custGeom>
          <a:solidFill>
            <a:srgbClr val="CED4FE"/>
          </a:solidFill>
          <a:ln w="9525" cap="flat" cmpd="sng">
            <a:noFill/>
            <a:prstDash val="solid"/>
            <a:round/>
            <a:headEnd type="none" w="med" len="med"/>
            <a:tailEnd type="none" w="med" len="med"/>
          </a:ln>
        </p:spPr>
        <p:txBody>
          <a:bodyPr/>
          <a:lstStyle/>
          <a:p>
            <a:endParaRPr lang="en-US"/>
          </a:p>
        </p:txBody>
      </p:sp>
      <p:sp>
        <p:nvSpPr>
          <p:cNvPr id="50181" name="Oval 7"/>
          <p:cNvSpPr>
            <a:spLocks noChangeArrowheads="1"/>
          </p:cNvSpPr>
          <p:nvPr/>
        </p:nvSpPr>
        <p:spPr bwMode="gray">
          <a:xfrm>
            <a:off x="3570288" y="3198813"/>
            <a:ext cx="1595437" cy="1573212"/>
          </a:xfrm>
          <a:prstGeom prst="ellipse">
            <a:avLst/>
          </a:prstGeom>
          <a:solidFill>
            <a:srgbClr val="CED4FE"/>
          </a:solidFill>
          <a:ln w="28575">
            <a:solidFill>
              <a:srgbClr val="C3CAFD"/>
            </a:solidFill>
            <a:round/>
            <a:headEnd/>
            <a:tailEnd/>
          </a:ln>
        </p:spPr>
        <p:txBody>
          <a:bodyPr/>
          <a:lstStyle/>
          <a:p>
            <a:pPr>
              <a:defRPr/>
            </a:pPr>
            <a:endParaRPr lang="en-US" sz="1400">
              <a:ln>
                <a:solidFill>
                  <a:srgbClr val="00B0F0"/>
                </a:solidFill>
              </a:ln>
            </a:endParaRPr>
          </a:p>
        </p:txBody>
      </p:sp>
      <p:sp>
        <p:nvSpPr>
          <p:cNvPr id="50182" name="Oval 8"/>
          <p:cNvSpPr>
            <a:spLocks noChangeArrowheads="1"/>
          </p:cNvSpPr>
          <p:nvPr/>
        </p:nvSpPr>
        <p:spPr bwMode="gray">
          <a:xfrm flipV="1">
            <a:off x="4267200" y="3897313"/>
            <a:ext cx="222250" cy="219075"/>
          </a:xfrm>
          <a:prstGeom prst="ellipse">
            <a:avLst/>
          </a:prstGeom>
          <a:solidFill>
            <a:srgbClr val="CED4FE"/>
          </a:solidFill>
          <a:ln w="28575">
            <a:solidFill>
              <a:srgbClr val="C3CAFD"/>
            </a:solidFill>
            <a:round/>
            <a:headEnd/>
            <a:tailEnd/>
          </a:ln>
        </p:spPr>
        <p:txBody>
          <a:bodyPr/>
          <a:lstStyle/>
          <a:p>
            <a:endParaRPr lang="en-US"/>
          </a:p>
        </p:txBody>
      </p:sp>
      <p:sp>
        <p:nvSpPr>
          <p:cNvPr id="50183" name="Oval 9"/>
          <p:cNvSpPr>
            <a:spLocks noChangeArrowheads="1"/>
          </p:cNvSpPr>
          <p:nvPr/>
        </p:nvSpPr>
        <p:spPr bwMode="gray">
          <a:xfrm flipV="1">
            <a:off x="4222750" y="3908425"/>
            <a:ext cx="223838" cy="219075"/>
          </a:xfrm>
          <a:prstGeom prst="ellipse">
            <a:avLst/>
          </a:prstGeom>
          <a:solidFill>
            <a:srgbClr val="C3CAFD"/>
          </a:solidFill>
          <a:ln w="28575">
            <a:solidFill>
              <a:srgbClr val="C3CAFD"/>
            </a:solidFill>
            <a:round/>
            <a:headEnd/>
            <a:tailEnd/>
          </a:ln>
        </p:spPr>
        <p:txBody>
          <a:bodyPr/>
          <a:lstStyle/>
          <a:p>
            <a:endParaRPr lang="en-US"/>
          </a:p>
        </p:txBody>
      </p:sp>
      <p:sp>
        <p:nvSpPr>
          <p:cNvPr id="50184" name="Text Box 10"/>
          <p:cNvSpPr txBox="1">
            <a:spLocks noChangeArrowheads="1"/>
          </p:cNvSpPr>
          <p:nvPr/>
        </p:nvSpPr>
        <p:spPr bwMode="gray">
          <a:xfrm>
            <a:off x="3792538" y="3538538"/>
            <a:ext cx="1168400" cy="915987"/>
          </a:xfrm>
          <a:prstGeom prst="rect">
            <a:avLst/>
          </a:prstGeom>
          <a:noFill/>
          <a:ln w="12700">
            <a:noFill/>
            <a:miter lim="800000"/>
            <a:headEnd/>
            <a:tailEnd/>
          </a:ln>
        </p:spPr>
        <p:txBody>
          <a:bodyPr>
            <a:spAutoFit/>
          </a:bodyPr>
          <a:lstStyle/>
          <a:p>
            <a:pPr algn="ctr" eaLnBrk="0" hangingPunct="0"/>
            <a:r>
              <a:rPr lang="en-US" b="1">
                <a:solidFill>
                  <a:schemeClr val="tx2"/>
                </a:solidFill>
              </a:rPr>
              <a:t>ALCS Program/Project</a:t>
            </a:r>
          </a:p>
        </p:txBody>
      </p:sp>
      <p:sp>
        <p:nvSpPr>
          <p:cNvPr id="50185" name="Freeform 18"/>
          <p:cNvSpPr>
            <a:spLocks noChangeAspect="1"/>
          </p:cNvSpPr>
          <p:nvPr/>
        </p:nvSpPr>
        <p:spPr bwMode="gray">
          <a:xfrm>
            <a:off x="4286250" y="1143000"/>
            <a:ext cx="1066800" cy="1944688"/>
          </a:xfrm>
          <a:custGeom>
            <a:avLst/>
            <a:gdLst>
              <a:gd name="T0" fmla="*/ 2147483647 w 528"/>
              <a:gd name="T1" fmla="*/ 2147483647 h 991"/>
              <a:gd name="T2" fmla="*/ 2147483647 w 528"/>
              <a:gd name="T3" fmla="*/ 2147483647 h 991"/>
              <a:gd name="T4" fmla="*/ 2147483647 w 528"/>
              <a:gd name="T5" fmla="*/ 2147483647 h 991"/>
              <a:gd name="T6" fmla="*/ 2147483647 w 528"/>
              <a:gd name="T7" fmla="*/ 2147483647 h 991"/>
              <a:gd name="T8" fmla="*/ 2147483647 w 528"/>
              <a:gd name="T9" fmla="*/ 2147483647 h 991"/>
              <a:gd name="T10" fmla="*/ 2147483647 w 528"/>
              <a:gd name="T11" fmla="*/ 2147483647 h 991"/>
              <a:gd name="T12" fmla="*/ 2147483647 w 528"/>
              <a:gd name="T13" fmla="*/ 2147483647 h 991"/>
              <a:gd name="T14" fmla="*/ 2147483647 w 528"/>
              <a:gd name="T15" fmla="*/ 2147483647 h 991"/>
              <a:gd name="T16" fmla="*/ 2147483647 w 528"/>
              <a:gd name="T17" fmla="*/ 2147483647 h 991"/>
              <a:gd name="T18" fmla="*/ 2147483647 w 528"/>
              <a:gd name="T19" fmla="*/ 2147483647 h 991"/>
              <a:gd name="T20" fmla="*/ 2147483647 w 528"/>
              <a:gd name="T21" fmla="*/ 2147483647 h 991"/>
              <a:gd name="T22" fmla="*/ 2147483647 w 528"/>
              <a:gd name="T23" fmla="*/ 2147483647 h 991"/>
              <a:gd name="T24" fmla="*/ 2147483647 w 528"/>
              <a:gd name="T25" fmla="*/ 2147483647 h 991"/>
              <a:gd name="T26" fmla="*/ 2147483647 w 528"/>
              <a:gd name="T27" fmla="*/ 2147483647 h 991"/>
              <a:gd name="T28" fmla="*/ 2147483647 w 528"/>
              <a:gd name="T29" fmla="*/ 2147483647 h 991"/>
              <a:gd name="T30" fmla="*/ 2147483647 w 528"/>
              <a:gd name="T31" fmla="*/ 2147483647 h 991"/>
              <a:gd name="T32" fmla="*/ 2147483647 w 528"/>
              <a:gd name="T33" fmla="*/ 2147483647 h 991"/>
              <a:gd name="T34" fmla="*/ 2147483647 w 528"/>
              <a:gd name="T35" fmla="*/ 2147483647 h 991"/>
              <a:gd name="T36" fmla="*/ 2147483647 w 528"/>
              <a:gd name="T37" fmla="*/ 2147483647 h 991"/>
              <a:gd name="T38" fmla="*/ 2147483647 w 528"/>
              <a:gd name="T39" fmla="*/ 2147483647 h 991"/>
              <a:gd name="T40" fmla="*/ 2147483647 w 528"/>
              <a:gd name="T41" fmla="*/ 2147483647 h 991"/>
              <a:gd name="T42" fmla="*/ 2147483647 w 528"/>
              <a:gd name="T43" fmla="*/ 2147483647 h 991"/>
              <a:gd name="T44" fmla="*/ 2147483647 w 528"/>
              <a:gd name="T45" fmla="*/ 2147483647 h 991"/>
              <a:gd name="T46" fmla="*/ 2147483647 w 528"/>
              <a:gd name="T47" fmla="*/ 2147483647 h 991"/>
              <a:gd name="T48" fmla="*/ 2147483647 w 528"/>
              <a:gd name="T49" fmla="*/ 2147483647 h 991"/>
              <a:gd name="T50" fmla="*/ 2147483647 w 528"/>
              <a:gd name="T51" fmla="*/ 2147483647 h 991"/>
              <a:gd name="T52" fmla="*/ 2147483647 w 528"/>
              <a:gd name="T53" fmla="*/ 2147483647 h 991"/>
              <a:gd name="T54" fmla="*/ 2147483647 w 528"/>
              <a:gd name="T55" fmla="*/ 2147483647 h 991"/>
              <a:gd name="T56" fmla="*/ 2147483647 w 528"/>
              <a:gd name="T57" fmla="*/ 2147483647 h 991"/>
              <a:gd name="T58" fmla="*/ 2147483647 w 528"/>
              <a:gd name="T59" fmla="*/ 2147483647 h 991"/>
              <a:gd name="T60" fmla="*/ 2147483647 w 528"/>
              <a:gd name="T61" fmla="*/ 2147483647 h 991"/>
              <a:gd name="T62" fmla="*/ 2147483647 w 528"/>
              <a:gd name="T63" fmla="*/ 2147483647 h 991"/>
              <a:gd name="T64" fmla="*/ 2147483647 w 528"/>
              <a:gd name="T65" fmla="*/ 2147483647 h 991"/>
              <a:gd name="T66" fmla="*/ 2147483647 w 528"/>
              <a:gd name="T67" fmla="*/ 2147483647 h 991"/>
              <a:gd name="T68" fmla="*/ 2147483647 w 528"/>
              <a:gd name="T69" fmla="*/ 2147483647 h 991"/>
              <a:gd name="T70" fmla="*/ 2147483647 w 528"/>
              <a:gd name="T71" fmla="*/ 2147483647 h 991"/>
              <a:gd name="T72" fmla="*/ 2147483647 w 528"/>
              <a:gd name="T73" fmla="*/ 2147483647 h 991"/>
              <a:gd name="T74" fmla="*/ 2147483647 w 528"/>
              <a:gd name="T75" fmla="*/ 2147483647 h 991"/>
              <a:gd name="T76" fmla="*/ 2147483647 w 528"/>
              <a:gd name="T77" fmla="*/ 2147483647 h 991"/>
              <a:gd name="T78" fmla="*/ 2147483647 w 528"/>
              <a:gd name="T79" fmla="*/ 2147483647 h 991"/>
              <a:gd name="T80" fmla="*/ 2147483647 w 528"/>
              <a:gd name="T81" fmla="*/ 2147483647 h 991"/>
              <a:gd name="T82" fmla="*/ 2147483647 w 528"/>
              <a:gd name="T83" fmla="*/ 2147483647 h 991"/>
              <a:gd name="T84" fmla="*/ 2147483647 w 528"/>
              <a:gd name="T85" fmla="*/ 2147483647 h 991"/>
              <a:gd name="T86" fmla="*/ 2147483647 w 528"/>
              <a:gd name="T87" fmla="*/ 2147483647 h 991"/>
              <a:gd name="T88" fmla="*/ 2147483647 w 528"/>
              <a:gd name="T89" fmla="*/ 2147483647 h 991"/>
              <a:gd name="T90" fmla="*/ 2147483647 w 528"/>
              <a:gd name="T91" fmla="*/ 2147483647 h 991"/>
              <a:gd name="T92" fmla="*/ 2147483647 w 528"/>
              <a:gd name="T93" fmla="*/ 2147483647 h 991"/>
              <a:gd name="T94" fmla="*/ 2147483647 w 528"/>
              <a:gd name="T95" fmla="*/ 2147483647 h 991"/>
              <a:gd name="T96" fmla="*/ 2147483647 w 528"/>
              <a:gd name="T97" fmla="*/ 2147483647 h 991"/>
              <a:gd name="T98" fmla="*/ 2147483647 w 528"/>
              <a:gd name="T99" fmla="*/ 2147483647 h 991"/>
              <a:gd name="T100" fmla="*/ 2147483647 w 528"/>
              <a:gd name="T101" fmla="*/ 2147483647 h 991"/>
              <a:gd name="T102" fmla="*/ 2147483647 w 528"/>
              <a:gd name="T103" fmla="*/ 2147483647 h 991"/>
              <a:gd name="T104" fmla="*/ 2147483647 w 528"/>
              <a:gd name="T105" fmla="*/ 2147483647 h 991"/>
              <a:gd name="T106" fmla="*/ 2147483647 w 528"/>
              <a:gd name="T107" fmla="*/ 2147483647 h 991"/>
              <a:gd name="T108" fmla="*/ 2147483647 w 528"/>
              <a:gd name="T109" fmla="*/ 2147483647 h 991"/>
              <a:gd name="T110" fmla="*/ 2147483647 w 528"/>
              <a:gd name="T111" fmla="*/ 2147483647 h 99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8"/>
              <a:gd name="T169" fmla="*/ 0 h 991"/>
              <a:gd name="T170" fmla="*/ 528 w 528"/>
              <a:gd name="T171" fmla="*/ 991 h 99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8" h="991">
                <a:moveTo>
                  <a:pt x="32" y="852"/>
                </a:moveTo>
                <a:lnTo>
                  <a:pt x="35" y="991"/>
                </a:lnTo>
                <a:lnTo>
                  <a:pt x="79" y="990"/>
                </a:lnTo>
                <a:lnTo>
                  <a:pt x="97" y="929"/>
                </a:lnTo>
                <a:lnTo>
                  <a:pt x="189" y="902"/>
                </a:lnTo>
                <a:lnTo>
                  <a:pt x="250" y="944"/>
                </a:lnTo>
                <a:lnTo>
                  <a:pt x="318" y="904"/>
                </a:lnTo>
                <a:lnTo>
                  <a:pt x="315" y="833"/>
                </a:lnTo>
                <a:lnTo>
                  <a:pt x="365" y="780"/>
                </a:lnTo>
                <a:lnTo>
                  <a:pt x="434" y="790"/>
                </a:lnTo>
                <a:lnTo>
                  <a:pt x="482" y="715"/>
                </a:lnTo>
                <a:lnTo>
                  <a:pt x="441" y="656"/>
                </a:lnTo>
                <a:lnTo>
                  <a:pt x="468" y="560"/>
                </a:lnTo>
                <a:lnTo>
                  <a:pt x="528" y="551"/>
                </a:lnTo>
                <a:lnTo>
                  <a:pt x="528" y="547"/>
                </a:lnTo>
                <a:lnTo>
                  <a:pt x="528" y="543"/>
                </a:lnTo>
                <a:lnTo>
                  <a:pt x="528" y="541"/>
                </a:lnTo>
                <a:lnTo>
                  <a:pt x="528" y="537"/>
                </a:lnTo>
                <a:lnTo>
                  <a:pt x="528" y="534"/>
                </a:lnTo>
                <a:lnTo>
                  <a:pt x="528" y="530"/>
                </a:lnTo>
                <a:lnTo>
                  <a:pt x="528" y="528"/>
                </a:lnTo>
                <a:lnTo>
                  <a:pt x="528" y="526"/>
                </a:lnTo>
                <a:lnTo>
                  <a:pt x="528" y="522"/>
                </a:lnTo>
                <a:lnTo>
                  <a:pt x="528" y="518"/>
                </a:lnTo>
                <a:lnTo>
                  <a:pt x="528" y="516"/>
                </a:lnTo>
                <a:lnTo>
                  <a:pt x="528" y="512"/>
                </a:lnTo>
                <a:lnTo>
                  <a:pt x="528" y="506"/>
                </a:lnTo>
                <a:lnTo>
                  <a:pt x="528" y="500"/>
                </a:lnTo>
                <a:lnTo>
                  <a:pt x="528" y="497"/>
                </a:lnTo>
                <a:lnTo>
                  <a:pt x="528" y="493"/>
                </a:lnTo>
                <a:lnTo>
                  <a:pt x="528" y="491"/>
                </a:lnTo>
                <a:lnTo>
                  <a:pt x="528" y="488"/>
                </a:lnTo>
                <a:lnTo>
                  <a:pt x="528" y="485"/>
                </a:lnTo>
                <a:lnTo>
                  <a:pt x="528" y="481"/>
                </a:lnTo>
                <a:lnTo>
                  <a:pt x="528" y="479"/>
                </a:lnTo>
                <a:lnTo>
                  <a:pt x="528" y="475"/>
                </a:lnTo>
                <a:lnTo>
                  <a:pt x="528" y="469"/>
                </a:lnTo>
                <a:lnTo>
                  <a:pt x="528" y="463"/>
                </a:lnTo>
                <a:lnTo>
                  <a:pt x="528" y="457"/>
                </a:lnTo>
                <a:lnTo>
                  <a:pt x="528" y="451"/>
                </a:lnTo>
                <a:lnTo>
                  <a:pt x="467" y="433"/>
                </a:lnTo>
                <a:lnTo>
                  <a:pt x="441" y="341"/>
                </a:lnTo>
                <a:lnTo>
                  <a:pt x="483" y="280"/>
                </a:lnTo>
                <a:lnTo>
                  <a:pt x="443" y="212"/>
                </a:lnTo>
                <a:lnTo>
                  <a:pt x="373" y="216"/>
                </a:lnTo>
                <a:lnTo>
                  <a:pt x="320" y="165"/>
                </a:lnTo>
                <a:lnTo>
                  <a:pt x="328" y="96"/>
                </a:lnTo>
                <a:lnTo>
                  <a:pt x="253" y="48"/>
                </a:lnTo>
                <a:lnTo>
                  <a:pt x="195" y="90"/>
                </a:lnTo>
                <a:lnTo>
                  <a:pt x="98" y="62"/>
                </a:lnTo>
                <a:lnTo>
                  <a:pt x="89" y="3"/>
                </a:lnTo>
                <a:lnTo>
                  <a:pt x="31" y="0"/>
                </a:lnTo>
                <a:lnTo>
                  <a:pt x="0" y="64"/>
                </a:lnTo>
                <a:lnTo>
                  <a:pt x="34" y="138"/>
                </a:lnTo>
                <a:lnTo>
                  <a:pt x="35" y="138"/>
                </a:lnTo>
                <a:lnTo>
                  <a:pt x="37" y="138"/>
                </a:lnTo>
                <a:lnTo>
                  <a:pt x="40" y="138"/>
                </a:lnTo>
                <a:lnTo>
                  <a:pt x="43" y="138"/>
                </a:lnTo>
                <a:lnTo>
                  <a:pt x="48" y="138"/>
                </a:lnTo>
                <a:lnTo>
                  <a:pt x="53" y="138"/>
                </a:lnTo>
                <a:lnTo>
                  <a:pt x="59" y="139"/>
                </a:lnTo>
                <a:lnTo>
                  <a:pt x="62" y="139"/>
                </a:lnTo>
                <a:lnTo>
                  <a:pt x="65" y="139"/>
                </a:lnTo>
                <a:lnTo>
                  <a:pt x="68" y="139"/>
                </a:lnTo>
                <a:lnTo>
                  <a:pt x="72" y="140"/>
                </a:lnTo>
                <a:lnTo>
                  <a:pt x="76" y="140"/>
                </a:lnTo>
                <a:lnTo>
                  <a:pt x="79" y="141"/>
                </a:lnTo>
                <a:lnTo>
                  <a:pt x="84" y="141"/>
                </a:lnTo>
                <a:lnTo>
                  <a:pt x="88" y="143"/>
                </a:lnTo>
                <a:lnTo>
                  <a:pt x="91" y="143"/>
                </a:lnTo>
                <a:lnTo>
                  <a:pt x="96" y="144"/>
                </a:lnTo>
                <a:lnTo>
                  <a:pt x="100" y="145"/>
                </a:lnTo>
                <a:lnTo>
                  <a:pt x="106" y="146"/>
                </a:lnTo>
                <a:lnTo>
                  <a:pt x="109" y="147"/>
                </a:lnTo>
                <a:lnTo>
                  <a:pt x="114" y="149"/>
                </a:lnTo>
                <a:lnTo>
                  <a:pt x="119" y="150"/>
                </a:lnTo>
                <a:lnTo>
                  <a:pt x="123" y="151"/>
                </a:lnTo>
                <a:lnTo>
                  <a:pt x="128" y="151"/>
                </a:lnTo>
                <a:lnTo>
                  <a:pt x="133" y="152"/>
                </a:lnTo>
                <a:lnTo>
                  <a:pt x="138" y="155"/>
                </a:lnTo>
                <a:lnTo>
                  <a:pt x="144" y="156"/>
                </a:lnTo>
                <a:lnTo>
                  <a:pt x="149" y="157"/>
                </a:lnTo>
                <a:lnTo>
                  <a:pt x="153" y="159"/>
                </a:lnTo>
                <a:lnTo>
                  <a:pt x="158" y="161"/>
                </a:lnTo>
                <a:lnTo>
                  <a:pt x="164" y="163"/>
                </a:lnTo>
                <a:lnTo>
                  <a:pt x="169" y="164"/>
                </a:lnTo>
                <a:lnTo>
                  <a:pt x="174" y="167"/>
                </a:lnTo>
                <a:lnTo>
                  <a:pt x="180" y="169"/>
                </a:lnTo>
                <a:lnTo>
                  <a:pt x="185" y="171"/>
                </a:lnTo>
                <a:lnTo>
                  <a:pt x="189" y="174"/>
                </a:lnTo>
                <a:lnTo>
                  <a:pt x="195" y="176"/>
                </a:lnTo>
                <a:lnTo>
                  <a:pt x="200" y="178"/>
                </a:lnTo>
                <a:lnTo>
                  <a:pt x="206" y="182"/>
                </a:lnTo>
                <a:lnTo>
                  <a:pt x="211" y="184"/>
                </a:lnTo>
                <a:lnTo>
                  <a:pt x="217" y="188"/>
                </a:lnTo>
                <a:lnTo>
                  <a:pt x="222" y="190"/>
                </a:lnTo>
                <a:lnTo>
                  <a:pt x="226" y="194"/>
                </a:lnTo>
                <a:lnTo>
                  <a:pt x="231" y="198"/>
                </a:lnTo>
                <a:lnTo>
                  <a:pt x="237" y="200"/>
                </a:lnTo>
                <a:lnTo>
                  <a:pt x="242" y="205"/>
                </a:lnTo>
                <a:lnTo>
                  <a:pt x="247" y="208"/>
                </a:lnTo>
                <a:lnTo>
                  <a:pt x="252" y="212"/>
                </a:lnTo>
                <a:lnTo>
                  <a:pt x="256" y="216"/>
                </a:lnTo>
                <a:lnTo>
                  <a:pt x="261" y="220"/>
                </a:lnTo>
                <a:lnTo>
                  <a:pt x="266" y="225"/>
                </a:lnTo>
                <a:lnTo>
                  <a:pt x="271" y="229"/>
                </a:lnTo>
                <a:lnTo>
                  <a:pt x="276" y="234"/>
                </a:lnTo>
                <a:lnTo>
                  <a:pt x="280" y="238"/>
                </a:lnTo>
                <a:lnTo>
                  <a:pt x="285" y="244"/>
                </a:lnTo>
                <a:lnTo>
                  <a:pt x="289" y="248"/>
                </a:lnTo>
                <a:lnTo>
                  <a:pt x="292" y="250"/>
                </a:lnTo>
                <a:lnTo>
                  <a:pt x="297" y="254"/>
                </a:lnTo>
                <a:lnTo>
                  <a:pt x="301" y="259"/>
                </a:lnTo>
                <a:lnTo>
                  <a:pt x="304" y="261"/>
                </a:lnTo>
                <a:lnTo>
                  <a:pt x="308" y="266"/>
                </a:lnTo>
                <a:lnTo>
                  <a:pt x="312" y="269"/>
                </a:lnTo>
                <a:lnTo>
                  <a:pt x="315" y="273"/>
                </a:lnTo>
                <a:lnTo>
                  <a:pt x="318" y="277"/>
                </a:lnTo>
                <a:lnTo>
                  <a:pt x="320" y="281"/>
                </a:lnTo>
                <a:lnTo>
                  <a:pt x="323" y="285"/>
                </a:lnTo>
                <a:lnTo>
                  <a:pt x="327" y="289"/>
                </a:lnTo>
                <a:lnTo>
                  <a:pt x="329" y="293"/>
                </a:lnTo>
                <a:lnTo>
                  <a:pt x="332" y="297"/>
                </a:lnTo>
                <a:lnTo>
                  <a:pt x="335" y="301"/>
                </a:lnTo>
                <a:lnTo>
                  <a:pt x="338" y="305"/>
                </a:lnTo>
                <a:lnTo>
                  <a:pt x="340" y="309"/>
                </a:lnTo>
                <a:lnTo>
                  <a:pt x="343" y="314"/>
                </a:lnTo>
                <a:lnTo>
                  <a:pt x="345" y="317"/>
                </a:lnTo>
                <a:lnTo>
                  <a:pt x="347" y="322"/>
                </a:lnTo>
                <a:lnTo>
                  <a:pt x="349" y="326"/>
                </a:lnTo>
                <a:lnTo>
                  <a:pt x="351" y="330"/>
                </a:lnTo>
                <a:lnTo>
                  <a:pt x="353" y="334"/>
                </a:lnTo>
                <a:lnTo>
                  <a:pt x="356" y="339"/>
                </a:lnTo>
                <a:lnTo>
                  <a:pt x="358" y="344"/>
                </a:lnTo>
                <a:lnTo>
                  <a:pt x="359" y="347"/>
                </a:lnTo>
                <a:lnTo>
                  <a:pt x="362" y="352"/>
                </a:lnTo>
                <a:lnTo>
                  <a:pt x="363" y="357"/>
                </a:lnTo>
                <a:lnTo>
                  <a:pt x="365" y="360"/>
                </a:lnTo>
                <a:lnTo>
                  <a:pt x="367" y="365"/>
                </a:lnTo>
                <a:lnTo>
                  <a:pt x="369" y="370"/>
                </a:lnTo>
                <a:lnTo>
                  <a:pt x="370" y="374"/>
                </a:lnTo>
                <a:lnTo>
                  <a:pt x="371" y="378"/>
                </a:lnTo>
                <a:lnTo>
                  <a:pt x="373" y="382"/>
                </a:lnTo>
                <a:lnTo>
                  <a:pt x="374" y="386"/>
                </a:lnTo>
                <a:lnTo>
                  <a:pt x="375" y="390"/>
                </a:lnTo>
                <a:lnTo>
                  <a:pt x="376" y="395"/>
                </a:lnTo>
                <a:lnTo>
                  <a:pt x="377" y="399"/>
                </a:lnTo>
                <a:lnTo>
                  <a:pt x="379" y="403"/>
                </a:lnTo>
                <a:lnTo>
                  <a:pt x="380" y="408"/>
                </a:lnTo>
                <a:lnTo>
                  <a:pt x="381" y="412"/>
                </a:lnTo>
                <a:lnTo>
                  <a:pt x="382" y="415"/>
                </a:lnTo>
                <a:lnTo>
                  <a:pt x="382" y="420"/>
                </a:lnTo>
                <a:lnTo>
                  <a:pt x="383" y="424"/>
                </a:lnTo>
                <a:lnTo>
                  <a:pt x="385" y="429"/>
                </a:lnTo>
                <a:lnTo>
                  <a:pt x="386" y="432"/>
                </a:lnTo>
                <a:lnTo>
                  <a:pt x="386" y="436"/>
                </a:lnTo>
                <a:lnTo>
                  <a:pt x="387" y="441"/>
                </a:lnTo>
                <a:lnTo>
                  <a:pt x="387" y="444"/>
                </a:lnTo>
                <a:lnTo>
                  <a:pt x="387" y="448"/>
                </a:lnTo>
                <a:lnTo>
                  <a:pt x="388" y="451"/>
                </a:lnTo>
                <a:lnTo>
                  <a:pt x="388" y="456"/>
                </a:lnTo>
                <a:lnTo>
                  <a:pt x="389" y="459"/>
                </a:lnTo>
                <a:lnTo>
                  <a:pt x="389" y="463"/>
                </a:lnTo>
                <a:lnTo>
                  <a:pt x="391" y="467"/>
                </a:lnTo>
                <a:lnTo>
                  <a:pt x="391" y="470"/>
                </a:lnTo>
                <a:lnTo>
                  <a:pt x="391" y="474"/>
                </a:lnTo>
                <a:lnTo>
                  <a:pt x="392" y="478"/>
                </a:lnTo>
                <a:lnTo>
                  <a:pt x="392" y="481"/>
                </a:lnTo>
                <a:lnTo>
                  <a:pt x="392" y="485"/>
                </a:lnTo>
                <a:lnTo>
                  <a:pt x="392" y="488"/>
                </a:lnTo>
                <a:lnTo>
                  <a:pt x="393" y="492"/>
                </a:lnTo>
                <a:lnTo>
                  <a:pt x="393" y="496"/>
                </a:lnTo>
                <a:lnTo>
                  <a:pt x="394" y="499"/>
                </a:lnTo>
                <a:lnTo>
                  <a:pt x="393" y="500"/>
                </a:lnTo>
                <a:lnTo>
                  <a:pt x="393" y="504"/>
                </a:lnTo>
                <a:lnTo>
                  <a:pt x="393" y="508"/>
                </a:lnTo>
                <a:lnTo>
                  <a:pt x="393" y="512"/>
                </a:lnTo>
                <a:lnTo>
                  <a:pt x="392" y="517"/>
                </a:lnTo>
                <a:lnTo>
                  <a:pt x="391" y="523"/>
                </a:lnTo>
                <a:lnTo>
                  <a:pt x="391" y="526"/>
                </a:lnTo>
                <a:lnTo>
                  <a:pt x="391" y="529"/>
                </a:lnTo>
                <a:lnTo>
                  <a:pt x="389" y="532"/>
                </a:lnTo>
                <a:lnTo>
                  <a:pt x="389" y="535"/>
                </a:lnTo>
                <a:lnTo>
                  <a:pt x="388" y="539"/>
                </a:lnTo>
                <a:lnTo>
                  <a:pt x="388" y="542"/>
                </a:lnTo>
                <a:lnTo>
                  <a:pt x="387" y="545"/>
                </a:lnTo>
                <a:lnTo>
                  <a:pt x="387" y="549"/>
                </a:lnTo>
                <a:lnTo>
                  <a:pt x="386" y="553"/>
                </a:lnTo>
                <a:lnTo>
                  <a:pt x="386" y="557"/>
                </a:lnTo>
                <a:lnTo>
                  <a:pt x="385" y="560"/>
                </a:lnTo>
                <a:lnTo>
                  <a:pt x="385" y="565"/>
                </a:lnTo>
                <a:lnTo>
                  <a:pt x="383" y="569"/>
                </a:lnTo>
                <a:lnTo>
                  <a:pt x="382" y="573"/>
                </a:lnTo>
                <a:lnTo>
                  <a:pt x="381" y="577"/>
                </a:lnTo>
                <a:lnTo>
                  <a:pt x="380" y="582"/>
                </a:lnTo>
                <a:lnTo>
                  <a:pt x="379" y="585"/>
                </a:lnTo>
                <a:lnTo>
                  <a:pt x="377" y="590"/>
                </a:lnTo>
                <a:lnTo>
                  <a:pt x="376" y="595"/>
                </a:lnTo>
                <a:lnTo>
                  <a:pt x="375" y="600"/>
                </a:lnTo>
                <a:lnTo>
                  <a:pt x="374" y="603"/>
                </a:lnTo>
                <a:lnTo>
                  <a:pt x="373" y="608"/>
                </a:lnTo>
                <a:lnTo>
                  <a:pt x="370" y="613"/>
                </a:lnTo>
                <a:lnTo>
                  <a:pt x="369" y="618"/>
                </a:lnTo>
                <a:lnTo>
                  <a:pt x="367" y="622"/>
                </a:lnTo>
                <a:lnTo>
                  <a:pt x="365" y="627"/>
                </a:lnTo>
                <a:lnTo>
                  <a:pt x="363" y="631"/>
                </a:lnTo>
                <a:lnTo>
                  <a:pt x="362" y="637"/>
                </a:lnTo>
                <a:lnTo>
                  <a:pt x="359" y="642"/>
                </a:lnTo>
                <a:lnTo>
                  <a:pt x="357" y="645"/>
                </a:lnTo>
                <a:lnTo>
                  <a:pt x="355" y="650"/>
                </a:lnTo>
                <a:lnTo>
                  <a:pt x="353" y="655"/>
                </a:lnTo>
                <a:lnTo>
                  <a:pt x="351" y="660"/>
                </a:lnTo>
                <a:lnTo>
                  <a:pt x="349" y="664"/>
                </a:lnTo>
                <a:lnTo>
                  <a:pt x="346" y="669"/>
                </a:lnTo>
                <a:lnTo>
                  <a:pt x="344" y="675"/>
                </a:lnTo>
                <a:lnTo>
                  <a:pt x="340" y="679"/>
                </a:lnTo>
                <a:lnTo>
                  <a:pt x="338" y="683"/>
                </a:lnTo>
                <a:lnTo>
                  <a:pt x="334" y="688"/>
                </a:lnTo>
                <a:lnTo>
                  <a:pt x="332" y="693"/>
                </a:lnTo>
                <a:lnTo>
                  <a:pt x="328" y="698"/>
                </a:lnTo>
                <a:lnTo>
                  <a:pt x="325" y="703"/>
                </a:lnTo>
                <a:lnTo>
                  <a:pt x="321" y="706"/>
                </a:lnTo>
                <a:lnTo>
                  <a:pt x="319" y="712"/>
                </a:lnTo>
                <a:lnTo>
                  <a:pt x="315" y="716"/>
                </a:lnTo>
                <a:lnTo>
                  <a:pt x="312" y="721"/>
                </a:lnTo>
                <a:lnTo>
                  <a:pt x="307" y="725"/>
                </a:lnTo>
                <a:lnTo>
                  <a:pt x="303" y="729"/>
                </a:lnTo>
                <a:lnTo>
                  <a:pt x="300" y="734"/>
                </a:lnTo>
                <a:lnTo>
                  <a:pt x="295" y="739"/>
                </a:lnTo>
                <a:lnTo>
                  <a:pt x="291" y="742"/>
                </a:lnTo>
                <a:lnTo>
                  <a:pt x="288" y="747"/>
                </a:lnTo>
                <a:lnTo>
                  <a:pt x="285" y="747"/>
                </a:lnTo>
                <a:lnTo>
                  <a:pt x="283" y="751"/>
                </a:lnTo>
                <a:lnTo>
                  <a:pt x="280" y="752"/>
                </a:lnTo>
                <a:lnTo>
                  <a:pt x="278" y="755"/>
                </a:lnTo>
                <a:lnTo>
                  <a:pt x="274" y="759"/>
                </a:lnTo>
                <a:lnTo>
                  <a:pt x="271" y="762"/>
                </a:lnTo>
                <a:lnTo>
                  <a:pt x="266" y="765"/>
                </a:lnTo>
                <a:lnTo>
                  <a:pt x="261" y="770"/>
                </a:lnTo>
                <a:lnTo>
                  <a:pt x="255" y="773"/>
                </a:lnTo>
                <a:lnTo>
                  <a:pt x="250" y="778"/>
                </a:lnTo>
                <a:lnTo>
                  <a:pt x="247" y="780"/>
                </a:lnTo>
                <a:lnTo>
                  <a:pt x="243" y="783"/>
                </a:lnTo>
                <a:lnTo>
                  <a:pt x="241" y="785"/>
                </a:lnTo>
                <a:lnTo>
                  <a:pt x="237" y="788"/>
                </a:lnTo>
                <a:lnTo>
                  <a:pt x="234" y="790"/>
                </a:lnTo>
                <a:lnTo>
                  <a:pt x="230" y="792"/>
                </a:lnTo>
                <a:lnTo>
                  <a:pt x="226" y="795"/>
                </a:lnTo>
                <a:lnTo>
                  <a:pt x="223" y="798"/>
                </a:lnTo>
                <a:lnTo>
                  <a:pt x="218" y="800"/>
                </a:lnTo>
                <a:lnTo>
                  <a:pt x="214" y="802"/>
                </a:lnTo>
                <a:lnTo>
                  <a:pt x="210" y="804"/>
                </a:lnTo>
                <a:lnTo>
                  <a:pt x="206" y="807"/>
                </a:lnTo>
                <a:lnTo>
                  <a:pt x="201" y="809"/>
                </a:lnTo>
                <a:lnTo>
                  <a:pt x="197" y="812"/>
                </a:lnTo>
                <a:lnTo>
                  <a:pt x="192" y="814"/>
                </a:lnTo>
                <a:lnTo>
                  <a:pt x="187" y="816"/>
                </a:lnTo>
                <a:lnTo>
                  <a:pt x="182" y="819"/>
                </a:lnTo>
                <a:lnTo>
                  <a:pt x="176" y="821"/>
                </a:lnTo>
                <a:lnTo>
                  <a:pt x="171" y="823"/>
                </a:lnTo>
                <a:lnTo>
                  <a:pt x="167" y="825"/>
                </a:lnTo>
                <a:lnTo>
                  <a:pt x="161" y="827"/>
                </a:lnTo>
                <a:lnTo>
                  <a:pt x="155" y="829"/>
                </a:lnTo>
                <a:lnTo>
                  <a:pt x="149" y="832"/>
                </a:lnTo>
                <a:lnTo>
                  <a:pt x="144" y="834"/>
                </a:lnTo>
                <a:lnTo>
                  <a:pt x="137" y="835"/>
                </a:lnTo>
                <a:lnTo>
                  <a:pt x="131" y="838"/>
                </a:lnTo>
                <a:lnTo>
                  <a:pt x="125" y="839"/>
                </a:lnTo>
                <a:lnTo>
                  <a:pt x="119" y="840"/>
                </a:lnTo>
                <a:lnTo>
                  <a:pt x="111" y="841"/>
                </a:lnTo>
                <a:lnTo>
                  <a:pt x="104" y="844"/>
                </a:lnTo>
                <a:lnTo>
                  <a:pt x="98" y="845"/>
                </a:lnTo>
                <a:lnTo>
                  <a:pt x="91" y="846"/>
                </a:lnTo>
                <a:lnTo>
                  <a:pt x="84" y="847"/>
                </a:lnTo>
                <a:lnTo>
                  <a:pt x="77" y="849"/>
                </a:lnTo>
                <a:lnTo>
                  <a:pt x="70" y="850"/>
                </a:lnTo>
                <a:lnTo>
                  <a:pt x="62" y="850"/>
                </a:lnTo>
                <a:lnTo>
                  <a:pt x="54" y="851"/>
                </a:lnTo>
                <a:lnTo>
                  <a:pt x="47" y="851"/>
                </a:lnTo>
                <a:lnTo>
                  <a:pt x="40" y="852"/>
                </a:lnTo>
                <a:lnTo>
                  <a:pt x="32" y="852"/>
                </a:lnTo>
                <a:close/>
              </a:path>
            </a:pathLst>
          </a:custGeom>
          <a:solidFill>
            <a:srgbClr val="EAEAEA"/>
          </a:solidFill>
          <a:ln w="9525">
            <a:noFill/>
            <a:round/>
            <a:headEnd/>
            <a:tailEnd/>
          </a:ln>
        </p:spPr>
        <p:txBody>
          <a:bodyPr/>
          <a:lstStyle/>
          <a:p>
            <a:endParaRPr lang="en-US"/>
          </a:p>
        </p:txBody>
      </p:sp>
      <p:sp>
        <p:nvSpPr>
          <p:cNvPr id="50186" name="Freeform 19"/>
          <p:cNvSpPr>
            <a:spLocks noChangeAspect="1"/>
          </p:cNvSpPr>
          <p:nvPr/>
        </p:nvSpPr>
        <p:spPr bwMode="gray">
          <a:xfrm>
            <a:off x="3357563" y="1143000"/>
            <a:ext cx="1052512" cy="1949450"/>
          </a:xfrm>
          <a:custGeom>
            <a:avLst/>
            <a:gdLst>
              <a:gd name="T0" fmla="*/ 2147483647 w 523"/>
              <a:gd name="T1" fmla="*/ 2147483647 h 992"/>
              <a:gd name="T2" fmla="*/ 2147483647 w 523"/>
              <a:gd name="T3" fmla="*/ 2147483647 h 992"/>
              <a:gd name="T4" fmla="*/ 2147483647 w 523"/>
              <a:gd name="T5" fmla="*/ 2147483647 h 992"/>
              <a:gd name="T6" fmla="*/ 0 w 523"/>
              <a:gd name="T7" fmla="*/ 2147483647 h 992"/>
              <a:gd name="T8" fmla="*/ 0 w 523"/>
              <a:gd name="T9" fmla="*/ 2147483647 h 992"/>
              <a:gd name="T10" fmla="*/ 0 w 523"/>
              <a:gd name="T11" fmla="*/ 2147483647 h 992"/>
              <a:gd name="T12" fmla="*/ 0 w 523"/>
              <a:gd name="T13" fmla="*/ 2147483647 h 992"/>
              <a:gd name="T14" fmla="*/ 2147483647 w 523"/>
              <a:gd name="T15" fmla="*/ 2147483647 h 992"/>
              <a:gd name="T16" fmla="*/ 2147483647 w 523"/>
              <a:gd name="T17" fmla="*/ 2147483647 h 992"/>
              <a:gd name="T18" fmla="*/ 2147483647 w 523"/>
              <a:gd name="T19" fmla="*/ 2147483647 h 992"/>
              <a:gd name="T20" fmla="*/ 2147483647 w 523"/>
              <a:gd name="T21" fmla="*/ 2147483647 h 992"/>
              <a:gd name="T22" fmla="*/ 2147483647 w 523"/>
              <a:gd name="T23" fmla="*/ 2147483647 h 992"/>
              <a:gd name="T24" fmla="*/ 2147483647 w 523"/>
              <a:gd name="T25" fmla="*/ 2147483647 h 992"/>
              <a:gd name="T26" fmla="*/ 2147483647 w 523"/>
              <a:gd name="T27" fmla="*/ 2147483647 h 992"/>
              <a:gd name="T28" fmla="*/ 2147483647 w 523"/>
              <a:gd name="T29" fmla="*/ 2147483647 h 992"/>
              <a:gd name="T30" fmla="*/ 2147483647 w 523"/>
              <a:gd name="T31" fmla="*/ 2147483647 h 992"/>
              <a:gd name="T32" fmla="*/ 2147483647 w 523"/>
              <a:gd name="T33" fmla="*/ 2147483647 h 992"/>
              <a:gd name="T34" fmla="*/ 2147483647 w 523"/>
              <a:gd name="T35" fmla="*/ 2147483647 h 992"/>
              <a:gd name="T36" fmla="*/ 2147483647 w 523"/>
              <a:gd name="T37" fmla="*/ 2147483647 h 992"/>
              <a:gd name="T38" fmla="*/ 2147483647 w 523"/>
              <a:gd name="T39" fmla="*/ 2147483647 h 992"/>
              <a:gd name="T40" fmla="*/ 2147483647 w 523"/>
              <a:gd name="T41" fmla="*/ 2147483647 h 992"/>
              <a:gd name="T42" fmla="*/ 2147483647 w 523"/>
              <a:gd name="T43" fmla="*/ 2147483647 h 992"/>
              <a:gd name="T44" fmla="*/ 2147483647 w 523"/>
              <a:gd name="T45" fmla="*/ 2147483647 h 992"/>
              <a:gd name="T46" fmla="*/ 2147483647 w 523"/>
              <a:gd name="T47" fmla="*/ 2147483647 h 992"/>
              <a:gd name="T48" fmla="*/ 2147483647 w 523"/>
              <a:gd name="T49" fmla="*/ 2147483647 h 992"/>
              <a:gd name="T50" fmla="*/ 2147483647 w 523"/>
              <a:gd name="T51" fmla="*/ 2147483647 h 992"/>
              <a:gd name="T52" fmla="*/ 2147483647 w 523"/>
              <a:gd name="T53" fmla="*/ 2147483647 h 992"/>
              <a:gd name="T54" fmla="*/ 2147483647 w 523"/>
              <a:gd name="T55" fmla="*/ 2147483647 h 992"/>
              <a:gd name="T56" fmla="*/ 2147483647 w 523"/>
              <a:gd name="T57" fmla="*/ 2147483647 h 992"/>
              <a:gd name="T58" fmla="*/ 2147483647 w 523"/>
              <a:gd name="T59" fmla="*/ 2147483647 h 992"/>
              <a:gd name="T60" fmla="*/ 2147483647 w 523"/>
              <a:gd name="T61" fmla="*/ 2147483647 h 992"/>
              <a:gd name="T62" fmla="*/ 2147483647 w 523"/>
              <a:gd name="T63" fmla="*/ 2147483647 h 992"/>
              <a:gd name="T64" fmla="*/ 2147483647 w 523"/>
              <a:gd name="T65" fmla="*/ 2147483647 h 992"/>
              <a:gd name="T66" fmla="*/ 2147483647 w 523"/>
              <a:gd name="T67" fmla="*/ 2147483647 h 992"/>
              <a:gd name="T68" fmla="*/ 2147483647 w 523"/>
              <a:gd name="T69" fmla="*/ 2147483647 h 992"/>
              <a:gd name="T70" fmla="*/ 2147483647 w 523"/>
              <a:gd name="T71" fmla="*/ 2147483647 h 992"/>
              <a:gd name="T72" fmla="*/ 2147483647 w 523"/>
              <a:gd name="T73" fmla="*/ 2147483647 h 992"/>
              <a:gd name="T74" fmla="*/ 2147483647 w 523"/>
              <a:gd name="T75" fmla="*/ 2147483647 h 992"/>
              <a:gd name="T76" fmla="*/ 2147483647 w 523"/>
              <a:gd name="T77" fmla="*/ 2147483647 h 992"/>
              <a:gd name="T78" fmla="*/ 2147483647 w 523"/>
              <a:gd name="T79" fmla="*/ 2147483647 h 992"/>
              <a:gd name="T80" fmla="*/ 2147483647 w 523"/>
              <a:gd name="T81" fmla="*/ 2147483647 h 992"/>
              <a:gd name="T82" fmla="*/ 2147483647 w 523"/>
              <a:gd name="T83" fmla="*/ 2147483647 h 992"/>
              <a:gd name="T84" fmla="*/ 2147483647 w 523"/>
              <a:gd name="T85" fmla="*/ 2147483647 h 992"/>
              <a:gd name="T86" fmla="*/ 2147483647 w 523"/>
              <a:gd name="T87" fmla="*/ 2147483647 h 992"/>
              <a:gd name="T88" fmla="*/ 2147483647 w 523"/>
              <a:gd name="T89" fmla="*/ 2147483647 h 992"/>
              <a:gd name="T90" fmla="*/ 2147483647 w 523"/>
              <a:gd name="T91" fmla="*/ 2147483647 h 992"/>
              <a:gd name="T92" fmla="*/ 2147483647 w 523"/>
              <a:gd name="T93" fmla="*/ 2147483647 h 992"/>
              <a:gd name="T94" fmla="*/ 2147483647 w 523"/>
              <a:gd name="T95" fmla="*/ 2147483647 h 992"/>
              <a:gd name="T96" fmla="*/ 2147483647 w 523"/>
              <a:gd name="T97" fmla="*/ 2147483647 h 992"/>
              <a:gd name="T98" fmla="*/ 2147483647 w 523"/>
              <a:gd name="T99" fmla="*/ 2147483647 h 992"/>
              <a:gd name="T100" fmla="*/ 2147483647 w 523"/>
              <a:gd name="T101" fmla="*/ 2147483647 h 992"/>
              <a:gd name="T102" fmla="*/ 2147483647 w 523"/>
              <a:gd name="T103" fmla="*/ 2147483647 h 992"/>
              <a:gd name="T104" fmla="*/ 2147483647 w 523"/>
              <a:gd name="T105" fmla="*/ 2147483647 h 9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3"/>
              <a:gd name="T160" fmla="*/ 0 h 992"/>
              <a:gd name="T161" fmla="*/ 523 w 523"/>
              <a:gd name="T162" fmla="*/ 992 h 9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3" h="992">
                <a:moveTo>
                  <a:pt x="500" y="139"/>
                </a:moveTo>
                <a:lnTo>
                  <a:pt x="497" y="0"/>
                </a:lnTo>
                <a:lnTo>
                  <a:pt x="453" y="1"/>
                </a:lnTo>
                <a:lnTo>
                  <a:pt x="435" y="63"/>
                </a:lnTo>
                <a:lnTo>
                  <a:pt x="341" y="89"/>
                </a:lnTo>
                <a:lnTo>
                  <a:pt x="281" y="48"/>
                </a:lnTo>
                <a:lnTo>
                  <a:pt x="213" y="86"/>
                </a:lnTo>
                <a:lnTo>
                  <a:pt x="217" y="158"/>
                </a:lnTo>
                <a:lnTo>
                  <a:pt x="166" y="212"/>
                </a:lnTo>
                <a:lnTo>
                  <a:pt x="96" y="201"/>
                </a:lnTo>
                <a:lnTo>
                  <a:pt x="49" y="276"/>
                </a:lnTo>
                <a:lnTo>
                  <a:pt x="91" y="335"/>
                </a:lnTo>
                <a:lnTo>
                  <a:pt x="63" y="424"/>
                </a:lnTo>
                <a:lnTo>
                  <a:pt x="2" y="440"/>
                </a:lnTo>
                <a:lnTo>
                  <a:pt x="1" y="445"/>
                </a:lnTo>
                <a:lnTo>
                  <a:pt x="1" y="450"/>
                </a:lnTo>
                <a:lnTo>
                  <a:pt x="0" y="456"/>
                </a:lnTo>
                <a:lnTo>
                  <a:pt x="0" y="462"/>
                </a:lnTo>
                <a:lnTo>
                  <a:pt x="0" y="468"/>
                </a:lnTo>
                <a:lnTo>
                  <a:pt x="0" y="474"/>
                </a:lnTo>
                <a:lnTo>
                  <a:pt x="0" y="477"/>
                </a:lnTo>
                <a:lnTo>
                  <a:pt x="0" y="481"/>
                </a:lnTo>
                <a:lnTo>
                  <a:pt x="0" y="483"/>
                </a:lnTo>
                <a:lnTo>
                  <a:pt x="0" y="487"/>
                </a:lnTo>
                <a:lnTo>
                  <a:pt x="0" y="491"/>
                </a:lnTo>
                <a:lnTo>
                  <a:pt x="0" y="494"/>
                </a:lnTo>
                <a:lnTo>
                  <a:pt x="0" y="497"/>
                </a:lnTo>
                <a:lnTo>
                  <a:pt x="0" y="500"/>
                </a:lnTo>
                <a:lnTo>
                  <a:pt x="0" y="504"/>
                </a:lnTo>
                <a:lnTo>
                  <a:pt x="0" y="507"/>
                </a:lnTo>
                <a:lnTo>
                  <a:pt x="0" y="511"/>
                </a:lnTo>
                <a:lnTo>
                  <a:pt x="0" y="515"/>
                </a:lnTo>
                <a:lnTo>
                  <a:pt x="0" y="518"/>
                </a:lnTo>
                <a:lnTo>
                  <a:pt x="0" y="521"/>
                </a:lnTo>
                <a:lnTo>
                  <a:pt x="0" y="524"/>
                </a:lnTo>
                <a:lnTo>
                  <a:pt x="1" y="528"/>
                </a:lnTo>
                <a:lnTo>
                  <a:pt x="1" y="531"/>
                </a:lnTo>
                <a:lnTo>
                  <a:pt x="1" y="535"/>
                </a:lnTo>
                <a:lnTo>
                  <a:pt x="2" y="538"/>
                </a:lnTo>
                <a:lnTo>
                  <a:pt x="2" y="542"/>
                </a:lnTo>
                <a:lnTo>
                  <a:pt x="63" y="559"/>
                </a:lnTo>
                <a:lnTo>
                  <a:pt x="88" y="652"/>
                </a:lnTo>
                <a:lnTo>
                  <a:pt x="48" y="711"/>
                </a:lnTo>
                <a:lnTo>
                  <a:pt x="86" y="780"/>
                </a:lnTo>
                <a:lnTo>
                  <a:pt x="158" y="777"/>
                </a:lnTo>
                <a:lnTo>
                  <a:pt x="212" y="826"/>
                </a:lnTo>
                <a:lnTo>
                  <a:pt x="201" y="897"/>
                </a:lnTo>
                <a:lnTo>
                  <a:pt x="278" y="944"/>
                </a:lnTo>
                <a:lnTo>
                  <a:pt x="334" y="903"/>
                </a:lnTo>
                <a:lnTo>
                  <a:pt x="431" y="931"/>
                </a:lnTo>
                <a:lnTo>
                  <a:pt x="442" y="988"/>
                </a:lnTo>
                <a:lnTo>
                  <a:pt x="497" y="992"/>
                </a:lnTo>
                <a:lnTo>
                  <a:pt x="523" y="935"/>
                </a:lnTo>
                <a:lnTo>
                  <a:pt x="496" y="853"/>
                </a:lnTo>
                <a:lnTo>
                  <a:pt x="494" y="853"/>
                </a:lnTo>
                <a:lnTo>
                  <a:pt x="493" y="853"/>
                </a:lnTo>
                <a:lnTo>
                  <a:pt x="491" y="853"/>
                </a:lnTo>
                <a:lnTo>
                  <a:pt x="488" y="853"/>
                </a:lnTo>
                <a:lnTo>
                  <a:pt x="484" y="852"/>
                </a:lnTo>
                <a:lnTo>
                  <a:pt x="479" y="852"/>
                </a:lnTo>
                <a:lnTo>
                  <a:pt x="474" y="852"/>
                </a:lnTo>
                <a:lnTo>
                  <a:pt x="469" y="852"/>
                </a:lnTo>
                <a:lnTo>
                  <a:pt x="466" y="851"/>
                </a:lnTo>
                <a:lnTo>
                  <a:pt x="462" y="851"/>
                </a:lnTo>
                <a:lnTo>
                  <a:pt x="459" y="851"/>
                </a:lnTo>
                <a:lnTo>
                  <a:pt x="455" y="850"/>
                </a:lnTo>
                <a:lnTo>
                  <a:pt x="451" y="850"/>
                </a:lnTo>
                <a:lnTo>
                  <a:pt x="448" y="848"/>
                </a:lnTo>
                <a:lnTo>
                  <a:pt x="444" y="848"/>
                </a:lnTo>
                <a:lnTo>
                  <a:pt x="441" y="848"/>
                </a:lnTo>
                <a:lnTo>
                  <a:pt x="436" y="847"/>
                </a:lnTo>
                <a:lnTo>
                  <a:pt x="432" y="846"/>
                </a:lnTo>
                <a:lnTo>
                  <a:pt x="427" y="845"/>
                </a:lnTo>
                <a:lnTo>
                  <a:pt x="424" y="844"/>
                </a:lnTo>
                <a:lnTo>
                  <a:pt x="419" y="842"/>
                </a:lnTo>
                <a:lnTo>
                  <a:pt x="414" y="842"/>
                </a:lnTo>
                <a:lnTo>
                  <a:pt x="409" y="841"/>
                </a:lnTo>
                <a:lnTo>
                  <a:pt x="405" y="840"/>
                </a:lnTo>
                <a:lnTo>
                  <a:pt x="400" y="839"/>
                </a:lnTo>
                <a:lnTo>
                  <a:pt x="395" y="838"/>
                </a:lnTo>
                <a:lnTo>
                  <a:pt x="390" y="836"/>
                </a:lnTo>
                <a:lnTo>
                  <a:pt x="384" y="835"/>
                </a:lnTo>
                <a:lnTo>
                  <a:pt x="379" y="833"/>
                </a:lnTo>
                <a:lnTo>
                  <a:pt x="375" y="832"/>
                </a:lnTo>
                <a:lnTo>
                  <a:pt x="369" y="829"/>
                </a:lnTo>
                <a:lnTo>
                  <a:pt x="365" y="828"/>
                </a:lnTo>
                <a:lnTo>
                  <a:pt x="359" y="826"/>
                </a:lnTo>
                <a:lnTo>
                  <a:pt x="354" y="823"/>
                </a:lnTo>
                <a:lnTo>
                  <a:pt x="348" y="821"/>
                </a:lnTo>
                <a:lnTo>
                  <a:pt x="344" y="820"/>
                </a:lnTo>
                <a:lnTo>
                  <a:pt x="339" y="816"/>
                </a:lnTo>
                <a:lnTo>
                  <a:pt x="334" y="814"/>
                </a:lnTo>
                <a:lnTo>
                  <a:pt x="328" y="813"/>
                </a:lnTo>
                <a:lnTo>
                  <a:pt x="323" y="810"/>
                </a:lnTo>
                <a:lnTo>
                  <a:pt x="317" y="807"/>
                </a:lnTo>
                <a:lnTo>
                  <a:pt x="312" y="803"/>
                </a:lnTo>
                <a:lnTo>
                  <a:pt x="308" y="801"/>
                </a:lnTo>
                <a:lnTo>
                  <a:pt x="302" y="797"/>
                </a:lnTo>
                <a:lnTo>
                  <a:pt x="297" y="793"/>
                </a:lnTo>
                <a:lnTo>
                  <a:pt x="292" y="790"/>
                </a:lnTo>
                <a:lnTo>
                  <a:pt x="286" y="787"/>
                </a:lnTo>
                <a:lnTo>
                  <a:pt x="282" y="784"/>
                </a:lnTo>
                <a:lnTo>
                  <a:pt x="276" y="779"/>
                </a:lnTo>
                <a:lnTo>
                  <a:pt x="272" y="775"/>
                </a:lnTo>
                <a:lnTo>
                  <a:pt x="267" y="772"/>
                </a:lnTo>
                <a:lnTo>
                  <a:pt x="262" y="767"/>
                </a:lnTo>
                <a:lnTo>
                  <a:pt x="257" y="763"/>
                </a:lnTo>
                <a:lnTo>
                  <a:pt x="254" y="759"/>
                </a:lnTo>
                <a:lnTo>
                  <a:pt x="249" y="754"/>
                </a:lnTo>
                <a:lnTo>
                  <a:pt x="245" y="749"/>
                </a:lnTo>
                <a:lnTo>
                  <a:pt x="243" y="748"/>
                </a:lnTo>
                <a:lnTo>
                  <a:pt x="239" y="744"/>
                </a:lnTo>
                <a:lnTo>
                  <a:pt x="237" y="742"/>
                </a:lnTo>
                <a:lnTo>
                  <a:pt x="235" y="740"/>
                </a:lnTo>
                <a:lnTo>
                  <a:pt x="231" y="736"/>
                </a:lnTo>
                <a:lnTo>
                  <a:pt x="229" y="734"/>
                </a:lnTo>
                <a:lnTo>
                  <a:pt x="224" y="729"/>
                </a:lnTo>
                <a:lnTo>
                  <a:pt x="220" y="724"/>
                </a:lnTo>
                <a:lnTo>
                  <a:pt x="215" y="718"/>
                </a:lnTo>
                <a:lnTo>
                  <a:pt x="212" y="713"/>
                </a:lnTo>
                <a:lnTo>
                  <a:pt x="209" y="710"/>
                </a:lnTo>
                <a:lnTo>
                  <a:pt x="207" y="706"/>
                </a:lnTo>
                <a:lnTo>
                  <a:pt x="205" y="704"/>
                </a:lnTo>
                <a:lnTo>
                  <a:pt x="202" y="700"/>
                </a:lnTo>
                <a:lnTo>
                  <a:pt x="200" y="696"/>
                </a:lnTo>
                <a:lnTo>
                  <a:pt x="197" y="693"/>
                </a:lnTo>
                <a:lnTo>
                  <a:pt x="195" y="689"/>
                </a:lnTo>
                <a:lnTo>
                  <a:pt x="193" y="686"/>
                </a:lnTo>
                <a:lnTo>
                  <a:pt x="190" y="681"/>
                </a:lnTo>
                <a:lnTo>
                  <a:pt x="188" y="677"/>
                </a:lnTo>
                <a:lnTo>
                  <a:pt x="185" y="673"/>
                </a:lnTo>
                <a:lnTo>
                  <a:pt x="183" y="668"/>
                </a:lnTo>
                <a:lnTo>
                  <a:pt x="179" y="664"/>
                </a:lnTo>
                <a:lnTo>
                  <a:pt x="178" y="659"/>
                </a:lnTo>
                <a:lnTo>
                  <a:pt x="176" y="653"/>
                </a:lnTo>
                <a:lnTo>
                  <a:pt x="173" y="650"/>
                </a:lnTo>
                <a:lnTo>
                  <a:pt x="171" y="644"/>
                </a:lnTo>
                <a:lnTo>
                  <a:pt x="169" y="639"/>
                </a:lnTo>
                <a:lnTo>
                  <a:pt x="166" y="633"/>
                </a:lnTo>
                <a:lnTo>
                  <a:pt x="165" y="628"/>
                </a:lnTo>
                <a:lnTo>
                  <a:pt x="163" y="622"/>
                </a:lnTo>
                <a:lnTo>
                  <a:pt x="160" y="617"/>
                </a:lnTo>
                <a:lnTo>
                  <a:pt x="158" y="611"/>
                </a:lnTo>
                <a:lnTo>
                  <a:pt x="157" y="606"/>
                </a:lnTo>
                <a:lnTo>
                  <a:pt x="154" y="600"/>
                </a:lnTo>
                <a:lnTo>
                  <a:pt x="153" y="594"/>
                </a:lnTo>
                <a:lnTo>
                  <a:pt x="151" y="588"/>
                </a:lnTo>
                <a:lnTo>
                  <a:pt x="149" y="580"/>
                </a:lnTo>
                <a:lnTo>
                  <a:pt x="147" y="574"/>
                </a:lnTo>
                <a:lnTo>
                  <a:pt x="146" y="567"/>
                </a:lnTo>
                <a:lnTo>
                  <a:pt x="145" y="560"/>
                </a:lnTo>
                <a:lnTo>
                  <a:pt x="144" y="554"/>
                </a:lnTo>
                <a:lnTo>
                  <a:pt x="142" y="547"/>
                </a:lnTo>
                <a:lnTo>
                  <a:pt x="141" y="540"/>
                </a:lnTo>
                <a:lnTo>
                  <a:pt x="140" y="531"/>
                </a:lnTo>
                <a:lnTo>
                  <a:pt x="140" y="525"/>
                </a:lnTo>
                <a:lnTo>
                  <a:pt x="139" y="517"/>
                </a:lnTo>
                <a:lnTo>
                  <a:pt x="138" y="510"/>
                </a:lnTo>
                <a:lnTo>
                  <a:pt x="138" y="501"/>
                </a:lnTo>
                <a:lnTo>
                  <a:pt x="138" y="494"/>
                </a:lnTo>
                <a:lnTo>
                  <a:pt x="138" y="492"/>
                </a:lnTo>
                <a:lnTo>
                  <a:pt x="138" y="489"/>
                </a:lnTo>
                <a:lnTo>
                  <a:pt x="138" y="485"/>
                </a:lnTo>
                <a:lnTo>
                  <a:pt x="138" y="482"/>
                </a:lnTo>
                <a:lnTo>
                  <a:pt x="138" y="476"/>
                </a:lnTo>
                <a:lnTo>
                  <a:pt x="139" y="471"/>
                </a:lnTo>
                <a:lnTo>
                  <a:pt x="139" y="465"/>
                </a:lnTo>
                <a:lnTo>
                  <a:pt x="140" y="460"/>
                </a:lnTo>
                <a:lnTo>
                  <a:pt x="140" y="456"/>
                </a:lnTo>
                <a:lnTo>
                  <a:pt x="141" y="452"/>
                </a:lnTo>
                <a:lnTo>
                  <a:pt x="141" y="449"/>
                </a:lnTo>
                <a:lnTo>
                  <a:pt x="142" y="445"/>
                </a:lnTo>
                <a:lnTo>
                  <a:pt x="142" y="442"/>
                </a:lnTo>
                <a:lnTo>
                  <a:pt x="144" y="437"/>
                </a:lnTo>
                <a:lnTo>
                  <a:pt x="144" y="433"/>
                </a:lnTo>
                <a:lnTo>
                  <a:pt x="145" y="430"/>
                </a:lnTo>
                <a:lnTo>
                  <a:pt x="145" y="425"/>
                </a:lnTo>
                <a:lnTo>
                  <a:pt x="146" y="421"/>
                </a:lnTo>
                <a:lnTo>
                  <a:pt x="147" y="416"/>
                </a:lnTo>
                <a:lnTo>
                  <a:pt x="148" y="413"/>
                </a:lnTo>
                <a:lnTo>
                  <a:pt x="149" y="408"/>
                </a:lnTo>
                <a:lnTo>
                  <a:pt x="151" y="403"/>
                </a:lnTo>
                <a:lnTo>
                  <a:pt x="152" y="398"/>
                </a:lnTo>
                <a:lnTo>
                  <a:pt x="153" y="395"/>
                </a:lnTo>
                <a:lnTo>
                  <a:pt x="154" y="390"/>
                </a:lnTo>
                <a:lnTo>
                  <a:pt x="155" y="385"/>
                </a:lnTo>
                <a:lnTo>
                  <a:pt x="157" y="381"/>
                </a:lnTo>
                <a:lnTo>
                  <a:pt x="158" y="376"/>
                </a:lnTo>
                <a:lnTo>
                  <a:pt x="160" y="371"/>
                </a:lnTo>
                <a:lnTo>
                  <a:pt x="161" y="366"/>
                </a:lnTo>
                <a:lnTo>
                  <a:pt x="164" y="361"/>
                </a:lnTo>
                <a:lnTo>
                  <a:pt x="166" y="357"/>
                </a:lnTo>
                <a:lnTo>
                  <a:pt x="167" y="352"/>
                </a:lnTo>
                <a:lnTo>
                  <a:pt x="170" y="347"/>
                </a:lnTo>
                <a:lnTo>
                  <a:pt x="172" y="341"/>
                </a:lnTo>
                <a:lnTo>
                  <a:pt x="175" y="336"/>
                </a:lnTo>
                <a:lnTo>
                  <a:pt x="177" y="331"/>
                </a:lnTo>
                <a:lnTo>
                  <a:pt x="179" y="327"/>
                </a:lnTo>
                <a:lnTo>
                  <a:pt x="182" y="322"/>
                </a:lnTo>
                <a:lnTo>
                  <a:pt x="185" y="317"/>
                </a:lnTo>
                <a:lnTo>
                  <a:pt x="188" y="312"/>
                </a:lnTo>
                <a:lnTo>
                  <a:pt x="190" y="308"/>
                </a:lnTo>
                <a:lnTo>
                  <a:pt x="193" y="302"/>
                </a:lnTo>
                <a:lnTo>
                  <a:pt x="196" y="298"/>
                </a:lnTo>
                <a:lnTo>
                  <a:pt x="200" y="292"/>
                </a:lnTo>
                <a:lnTo>
                  <a:pt x="202" y="287"/>
                </a:lnTo>
                <a:lnTo>
                  <a:pt x="206" y="284"/>
                </a:lnTo>
                <a:lnTo>
                  <a:pt x="211" y="279"/>
                </a:lnTo>
                <a:lnTo>
                  <a:pt x="214" y="274"/>
                </a:lnTo>
                <a:lnTo>
                  <a:pt x="217" y="269"/>
                </a:lnTo>
                <a:lnTo>
                  <a:pt x="221" y="264"/>
                </a:lnTo>
                <a:lnTo>
                  <a:pt x="226" y="261"/>
                </a:lnTo>
                <a:lnTo>
                  <a:pt x="230" y="256"/>
                </a:lnTo>
                <a:lnTo>
                  <a:pt x="235" y="251"/>
                </a:lnTo>
                <a:lnTo>
                  <a:pt x="238" y="248"/>
                </a:lnTo>
                <a:lnTo>
                  <a:pt x="244" y="244"/>
                </a:lnTo>
                <a:lnTo>
                  <a:pt x="244" y="242"/>
                </a:lnTo>
                <a:lnTo>
                  <a:pt x="248" y="239"/>
                </a:lnTo>
                <a:lnTo>
                  <a:pt x="249" y="237"/>
                </a:lnTo>
                <a:lnTo>
                  <a:pt x="252" y="235"/>
                </a:lnTo>
                <a:lnTo>
                  <a:pt x="255" y="231"/>
                </a:lnTo>
                <a:lnTo>
                  <a:pt x="260" y="227"/>
                </a:lnTo>
                <a:lnTo>
                  <a:pt x="262" y="224"/>
                </a:lnTo>
                <a:lnTo>
                  <a:pt x="268" y="219"/>
                </a:lnTo>
                <a:lnTo>
                  <a:pt x="273" y="215"/>
                </a:lnTo>
                <a:lnTo>
                  <a:pt x="279" y="212"/>
                </a:lnTo>
                <a:lnTo>
                  <a:pt x="281" y="208"/>
                </a:lnTo>
                <a:lnTo>
                  <a:pt x="285" y="206"/>
                </a:lnTo>
                <a:lnTo>
                  <a:pt x="287" y="203"/>
                </a:lnTo>
                <a:lnTo>
                  <a:pt x="292" y="201"/>
                </a:lnTo>
                <a:lnTo>
                  <a:pt x="296" y="199"/>
                </a:lnTo>
                <a:lnTo>
                  <a:pt x="298" y="197"/>
                </a:lnTo>
                <a:lnTo>
                  <a:pt x="303" y="194"/>
                </a:lnTo>
                <a:lnTo>
                  <a:pt x="308" y="193"/>
                </a:lnTo>
                <a:lnTo>
                  <a:pt x="310" y="189"/>
                </a:lnTo>
                <a:lnTo>
                  <a:pt x="315" y="188"/>
                </a:lnTo>
                <a:lnTo>
                  <a:pt x="318" y="184"/>
                </a:lnTo>
                <a:lnTo>
                  <a:pt x="323" y="182"/>
                </a:lnTo>
                <a:lnTo>
                  <a:pt x="328" y="179"/>
                </a:lnTo>
                <a:lnTo>
                  <a:pt x="333" y="177"/>
                </a:lnTo>
                <a:lnTo>
                  <a:pt x="338" y="175"/>
                </a:lnTo>
                <a:lnTo>
                  <a:pt x="342" y="174"/>
                </a:lnTo>
                <a:lnTo>
                  <a:pt x="347" y="170"/>
                </a:lnTo>
                <a:lnTo>
                  <a:pt x="352" y="168"/>
                </a:lnTo>
                <a:lnTo>
                  <a:pt x="358" y="165"/>
                </a:lnTo>
                <a:lnTo>
                  <a:pt x="363" y="164"/>
                </a:lnTo>
                <a:lnTo>
                  <a:pt x="369" y="162"/>
                </a:lnTo>
                <a:lnTo>
                  <a:pt x="375" y="160"/>
                </a:lnTo>
                <a:lnTo>
                  <a:pt x="381" y="158"/>
                </a:lnTo>
                <a:lnTo>
                  <a:pt x="387" y="157"/>
                </a:lnTo>
                <a:lnTo>
                  <a:pt x="393" y="154"/>
                </a:lnTo>
                <a:lnTo>
                  <a:pt x="399" y="152"/>
                </a:lnTo>
                <a:lnTo>
                  <a:pt x="405" y="151"/>
                </a:lnTo>
                <a:lnTo>
                  <a:pt x="412" y="150"/>
                </a:lnTo>
                <a:lnTo>
                  <a:pt x="418" y="147"/>
                </a:lnTo>
                <a:lnTo>
                  <a:pt x="425" y="146"/>
                </a:lnTo>
                <a:lnTo>
                  <a:pt x="431" y="145"/>
                </a:lnTo>
                <a:lnTo>
                  <a:pt x="439" y="144"/>
                </a:lnTo>
                <a:lnTo>
                  <a:pt x="445" y="142"/>
                </a:lnTo>
                <a:lnTo>
                  <a:pt x="453" y="141"/>
                </a:lnTo>
                <a:lnTo>
                  <a:pt x="460" y="140"/>
                </a:lnTo>
                <a:lnTo>
                  <a:pt x="468" y="140"/>
                </a:lnTo>
                <a:lnTo>
                  <a:pt x="475" y="139"/>
                </a:lnTo>
                <a:lnTo>
                  <a:pt x="484" y="139"/>
                </a:lnTo>
                <a:lnTo>
                  <a:pt x="491" y="139"/>
                </a:lnTo>
                <a:lnTo>
                  <a:pt x="500" y="139"/>
                </a:lnTo>
                <a:close/>
              </a:path>
            </a:pathLst>
          </a:custGeom>
          <a:solidFill>
            <a:srgbClr val="EAEAEA"/>
          </a:solidFill>
          <a:ln w="9525">
            <a:noFill/>
            <a:round/>
            <a:headEnd/>
            <a:tailEnd/>
          </a:ln>
        </p:spPr>
        <p:txBody>
          <a:bodyPr/>
          <a:lstStyle/>
          <a:p>
            <a:endParaRPr lang="en-US"/>
          </a:p>
        </p:txBody>
      </p:sp>
      <p:sp>
        <p:nvSpPr>
          <p:cNvPr id="50187" name="Oval 20"/>
          <p:cNvSpPr>
            <a:spLocks noChangeArrowheads="1"/>
          </p:cNvSpPr>
          <p:nvPr/>
        </p:nvSpPr>
        <p:spPr bwMode="gray">
          <a:xfrm>
            <a:off x="3557588" y="1331913"/>
            <a:ext cx="1595437" cy="1571625"/>
          </a:xfrm>
          <a:prstGeom prst="ellipse">
            <a:avLst/>
          </a:prstGeom>
          <a:solidFill>
            <a:srgbClr val="EAEAEA"/>
          </a:solidFill>
          <a:ln w="28575">
            <a:solidFill>
              <a:srgbClr val="DDDDDD"/>
            </a:solidFill>
            <a:round/>
            <a:headEnd/>
            <a:tailEnd/>
          </a:ln>
        </p:spPr>
        <p:txBody>
          <a:bodyPr/>
          <a:lstStyle/>
          <a:p>
            <a:endParaRPr lang="en-US"/>
          </a:p>
        </p:txBody>
      </p:sp>
      <p:sp>
        <p:nvSpPr>
          <p:cNvPr id="50188" name="Oval 21"/>
          <p:cNvSpPr>
            <a:spLocks noChangeArrowheads="1"/>
          </p:cNvSpPr>
          <p:nvPr/>
        </p:nvSpPr>
        <p:spPr bwMode="gray">
          <a:xfrm flipV="1">
            <a:off x="4244975" y="2009775"/>
            <a:ext cx="222250" cy="219075"/>
          </a:xfrm>
          <a:prstGeom prst="ellipse">
            <a:avLst/>
          </a:prstGeom>
          <a:solidFill>
            <a:srgbClr val="DDDDDD"/>
          </a:solidFill>
          <a:ln w="28575">
            <a:solidFill>
              <a:srgbClr val="DDDDDD"/>
            </a:solidFill>
            <a:round/>
            <a:headEnd/>
            <a:tailEnd/>
          </a:ln>
        </p:spPr>
        <p:txBody>
          <a:bodyPr/>
          <a:lstStyle/>
          <a:p>
            <a:endParaRPr lang="en-US"/>
          </a:p>
        </p:txBody>
      </p:sp>
      <p:sp>
        <p:nvSpPr>
          <p:cNvPr id="50189" name="Text Box 22"/>
          <p:cNvSpPr txBox="1">
            <a:spLocks noChangeArrowheads="1"/>
          </p:cNvSpPr>
          <p:nvPr/>
        </p:nvSpPr>
        <p:spPr bwMode="gray">
          <a:xfrm>
            <a:off x="3381375" y="1338263"/>
            <a:ext cx="1938338" cy="1527175"/>
          </a:xfrm>
          <a:prstGeom prst="rect">
            <a:avLst/>
          </a:prstGeom>
          <a:noFill/>
          <a:ln w="12700">
            <a:noFill/>
            <a:miter lim="800000"/>
            <a:headEnd/>
            <a:tailEnd/>
          </a:ln>
        </p:spPr>
        <p:txBody>
          <a:bodyPr anchor="ctr"/>
          <a:lstStyle/>
          <a:p>
            <a:pPr algn="ctr" eaLnBrk="0" hangingPunct="0">
              <a:buClr>
                <a:schemeClr val="accent2"/>
              </a:buClr>
              <a:buFont typeface="Symbol" pitchFamily="18" charset="2"/>
              <a:buNone/>
            </a:pPr>
            <a:r>
              <a:rPr lang="en-US" sz="1600" b="1"/>
              <a:t>Activities</a:t>
            </a:r>
            <a:endParaRPr lang="en-US" sz="1000"/>
          </a:p>
        </p:txBody>
      </p:sp>
      <p:sp>
        <p:nvSpPr>
          <p:cNvPr id="50190" name="Freeform 24"/>
          <p:cNvSpPr>
            <a:spLocks noChangeAspect="1"/>
          </p:cNvSpPr>
          <p:nvPr/>
        </p:nvSpPr>
        <p:spPr bwMode="gray">
          <a:xfrm>
            <a:off x="2347913" y="2986088"/>
            <a:ext cx="1066800" cy="1944687"/>
          </a:xfrm>
          <a:custGeom>
            <a:avLst/>
            <a:gdLst>
              <a:gd name="T0" fmla="*/ 2147483647 w 528"/>
              <a:gd name="T1" fmla="*/ 2147483647 h 991"/>
              <a:gd name="T2" fmla="*/ 2147483647 w 528"/>
              <a:gd name="T3" fmla="*/ 2147483647 h 991"/>
              <a:gd name="T4" fmla="*/ 2147483647 w 528"/>
              <a:gd name="T5" fmla="*/ 2147483647 h 991"/>
              <a:gd name="T6" fmla="*/ 2147483647 w 528"/>
              <a:gd name="T7" fmla="*/ 2147483647 h 991"/>
              <a:gd name="T8" fmla="*/ 2147483647 w 528"/>
              <a:gd name="T9" fmla="*/ 2147483647 h 991"/>
              <a:gd name="T10" fmla="*/ 2147483647 w 528"/>
              <a:gd name="T11" fmla="*/ 2147483647 h 991"/>
              <a:gd name="T12" fmla="*/ 2147483647 w 528"/>
              <a:gd name="T13" fmla="*/ 2147483647 h 991"/>
              <a:gd name="T14" fmla="*/ 2147483647 w 528"/>
              <a:gd name="T15" fmla="*/ 2147483647 h 991"/>
              <a:gd name="T16" fmla="*/ 2147483647 w 528"/>
              <a:gd name="T17" fmla="*/ 2147483647 h 991"/>
              <a:gd name="T18" fmla="*/ 2147483647 w 528"/>
              <a:gd name="T19" fmla="*/ 2147483647 h 991"/>
              <a:gd name="T20" fmla="*/ 2147483647 w 528"/>
              <a:gd name="T21" fmla="*/ 2147483647 h 991"/>
              <a:gd name="T22" fmla="*/ 2147483647 w 528"/>
              <a:gd name="T23" fmla="*/ 2147483647 h 991"/>
              <a:gd name="T24" fmla="*/ 2147483647 w 528"/>
              <a:gd name="T25" fmla="*/ 2147483647 h 991"/>
              <a:gd name="T26" fmla="*/ 2147483647 w 528"/>
              <a:gd name="T27" fmla="*/ 2147483647 h 991"/>
              <a:gd name="T28" fmla="*/ 2147483647 w 528"/>
              <a:gd name="T29" fmla="*/ 2147483647 h 991"/>
              <a:gd name="T30" fmla="*/ 2147483647 w 528"/>
              <a:gd name="T31" fmla="*/ 2147483647 h 991"/>
              <a:gd name="T32" fmla="*/ 2147483647 w 528"/>
              <a:gd name="T33" fmla="*/ 2147483647 h 991"/>
              <a:gd name="T34" fmla="*/ 2147483647 w 528"/>
              <a:gd name="T35" fmla="*/ 2147483647 h 991"/>
              <a:gd name="T36" fmla="*/ 2147483647 w 528"/>
              <a:gd name="T37" fmla="*/ 2147483647 h 991"/>
              <a:gd name="T38" fmla="*/ 2147483647 w 528"/>
              <a:gd name="T39" fmla="*/ 2147483647 h 991"/>
              <a:gd name="T40" fmla="*/ 2147483647 w 528"/>
              <a:gd name="T41" fmla="*/ 2147483647 h 991"/>
              <a:gd name="T42" fmla="*/ 2147483647 w 528"/>
              <a:gd name="T43" fmla="*/ 2147483647 h 991"/>
              <a:gd name="T44" fmla="*/ 2147483647 w 528"/>
              <a:gd name="T45" fmla="*/ 2147483647 h 991"/>
              <a:gd name="T46" fmla="*/ 2147483647 w 528"/>
              <a:gd name="T47" fmla="*/ 2147483647 h 991"/>
              <a:gd name="T48" fmla="*/ 2147483647 w 528"/>
              <a:gd name="T49" fmla="*/ 2147483647 h 991"/>
              <a:gd name="T50" fmla="*/ 2147483647 w 528"/>
              <a:gd name="T51" fmla="*/ 2147483647 h 991"/>
              <a:gd name="T52" fmla="*/ 2147483647 w 528"/>
              <a:gd name="T53" fmla="*/ 2147483647 h 991"/>
              <a:gd name="T54" fmla="*/ 2147483647 w 528"/>
              <a:gd name="T55" fmla="*/ 2147483647 h 991"/>
              <a:gd name="T56" fmla="*/ 2147483647 w 528"/>
              <a:gd name="T57" fmla="*/ 2147483647 h 991"/>
              <a:gd name="T58" fmla="*/ 2147483647 w 528"/>
              <a:gd name="T59" fmla="*/ 2147483647 h 991"/>
              <a:gd name="T60" fmla="*/ 2147483647 w 528"/>
              <a:gd name="T61" fmla="*/ 2147483647 h 991"/>
              <a:gd name="T62" fmla="*/ 2147483647 w 528"/>
              <a:gd name="T63" fmla="*/ 2147483647 h 991"/>
              <a:gd name="T64" fmla="*/ 2147483647 w 528"/>
              <a:gd name="T65" fmla="*/ 2147483647 h 991"/>
              <a:gd name="T66" fmla="*/ 2147483647 w 528"/>
              <a:gd name="T67" fmla="*/ 2147483647 h 991"/>
              <a:gd name="T68" fmla="*/ 2147483647 w 528"/>
              <a:gd name="T69" fmla="*/ 2147483647 h 991"/>
              <a:gd name="T70" fmla="*/ 2147483647 w 528"/>
              <a:gd name="T71" fmla="*/ 2147483647 h 991"/>
              <a:gd name="T72" fmla="*/ 2147483647 w 528"/>
              <a:gd name="T73" fmla="*/ 2147483647 h 991"/>
              <a:gd name="T74" fmla="*/ 2147483647 w 528"/>
              <a:gd name="T75" fmla="*/ 2147483647 h 991"/>
              <a:gd name="T76" fmla="*/ 2147483647 w 528"/>
              <a:gd name="T77" fmla="*/ 2147483647 h 991"/>
              <a:gd name="T78" fmla="*/ 2147483647 w 528"/>
              <a:gd name="T79" fmla="*/ 2147483647 h 991"/>
              <a:gd name="T80" fmla="*/ 2147483647 w 528"/>
              <a:gd name="T81" fmla="*/ 2147483647 h 991"/>
              <a:gd name="T82" fmla="*/ 2147483647 w 528"/>
              <a:gd name="T83" fmla="*/ 2147483647 h 991"/>
              <a:gd name="T84" fmla="*/ 2147483647 w 528"/>
              <a:gd name="T85" fmla="*/ 2147483647 h 991"/>
              <a:gd name="T86" fmla="*/ 2147483647 w 528"/>
              <a:gd name="T87" fmla="*/ 2147483647 h 991"/>
              <a:gd name="T88" fmla="*/ 2147483647 w 528"/>
              <a:gd name="T89" fmla="*/ 2147483647 h 991"/>
              <a:gd name="T90" fmla="*/ 2147483647 w 528"/>
              <a:gd name="T91" fmla="*/ 2147483647 h 991"/>
              <a:gd name="T92" fmla="*/ 2147483647 w 528"/>
              <a:gd name="T93" fmla="*/ 2147483647 h 991"/>
              <a:gd name="T94" fmla="*/ 2147483647 w 528"/>
              <a:gd name="T95" fmla="*/ 2147483647 h 991"/>
              <a:gd name="T96" fmla="*/ 2147483647 w 528"/>
              <a:gd name="T97" fmla="*/ 2147483647 h 991"/>
              <a:gd name="T98" fmla="*/ 2147483647 w 528"/>
              <a:gd name="T99" fmla="*/ 2147483647 h 991"/>
              <a:gd name="T100" fmla="*/ 2147483647 w 528"/>
              <a:gd name="T101" fmla="*/ 2147483647 h 991"/>
              <a:gd name="T102" fmla="*/ 2147483647 w 528"/>
              <a:gd name="T103" fmla="*/ 2147483647 h 991"/>
              <a:gd name="T104" fmla="*/ 2147483647 w 528"/>
              <a:gd name="T105" fmla="*/ 2147483647 h 991"/>
              <a:gd name="T106" fmla="*/ 2147483647 w 528"/>
              <a:gd name="T107" fmla="*/ 2147483647 h 991"/>
              <a:gd name="T108" fmla="*/ 2147483647 w 528"/>
              <a:gd name="T109" fmla="*/ 2147483647 h 991"/>
              <a:gd name="T110" fmla="*/ 2147483647 w 528"/>
              <a:gd name="T111" fmla="*/ 2147483647 h 99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8"/>
              <a:gd name="T169" fmla="*/ 0 h 991"/>
              <a:gd name="T170" fmla="*/ 528 w 528"/>
              <a:gd name="T171" fmla="*/ 991 h 99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8" h="991">
                <a:moveTo>
                  <a:pt x="32" y="852"/>
                </a:moveTo>
                <a:lnTo>
                  <a:pt x="35" y="991"/>
                </a:lnTo>
                <a:lnTo>
                  <a:pt x="79" y="990"/>
                </a:lnTo>
                <a:lnTo>
                  <a:pt x="97" y="929"/>
                </a:lnTo>
                <a:lnTo>
                  <a:pt x="189" y="902"/>
                </a:lnTo>
                <a:lnTo>
                  <a:pt x="250" y="944"/>
                </a:lnTo>
                <a:lnTo>
                  <a:pt x="318" y="904"/>
                </a:lnTo>
                <a:lnTo>
                  <a:pt x="315" y="833"/>
                </a:lnTo>
                <a:lnTo>
                  <a:pt x="365" y="780"/>
                </a:lnTo>
                <a:lnTo>
                  <a:pt x="434" y="790"/>
                </a:lnTo>
                <a:lnTo>
                  <a:pt x="482" y="715"/>
                </a:lnTo>
                <a:lnTo>
                  <a:pt x="441" y="656"/>
                </a:lnTo>
                <a:lnTo>
                  <a:pt x="468" y="560"/>
                </a:lnTo>
                <a:lnTo>
                  <a:pt x="528" y="551"/>
                </a:lnTo>
                <a:lnTo>
                  <a:pt x="528" y="547"/>
                </a:lnTo>
                <a:lnTo>
                  <a:pt x="528" y="543"/>
                </a:lnTo>
                <a:lnTo>
                  <a:pt x="528" y="541"/>
                </a:lnTo>
                <a:lnTo>
                  <a:pt x="528" y="537"/>
                </a:lnTo>
                <a:lnTo>
                  <a:pt x="528" y="534"/>
                </a:lnTo>
                <a:lnTo>
                  <a:pt x="528" y="530"/>
                </a:lnTo>
                <a:lnTo>
                  <a:pt x="528" y="528"/>
                </a:lnTo>
                <a:lnTo>
                  <a:pt x="528" y="526"/>
                </a:lnTo>
                <a:lnTo>
                  <a:pt x="528" y="522"/>
                </a:lnTo>
                <a:lnTo>
                  <a:pt x="528" y="518"/>
                </a:lnTo>
                <a:lnTo>
                  <a:pt x="528" y="516"/>
                </a:lnTo>
                <a:lnTo>
                  <a:pt x="528" y="512"/>
                </a:lnTo>
                <a:lnTo>
                  <a:pt x="528" y="506"/>
                </a:lnTo>
                <a:lnTo>
                  <a:pt x="528" y="500"/>
                </a:lnTo>
                <a:lnTo>
                  <a:pt x="528" y="497"/>
                </a:lnTo>
                <a:lnTo>
                  <a:pt x="528" y="493"/>
                </a:lnTo>
                <a:lnTo>
                  <a:pt x="528" y="491"/>
                </a:lnTo>
                <a:lnTo>
                  <a:pt x="528" y="488"/>
                </a:lnTo>
                <a:lnTo>
                  <a:pt x="528" y="485"/>
                </a:lnTo>
                <a:lnTo>
                  <a:pt x="528" y="481"/>
                </a:lnTo>
                <a:lnTo>
                  <a:pt x="528" y="479"/>
                </a:lnTo>
                <a:lnTo>
                  <a:pt x="528" y="475"/>
                </a:lnTo>
                <a:lnTo>
                  <a:pt x="528" y="469"/>
                </a:lnTo>
                <a:lnTo>
                  <a:pt x="528" y="463"/>
                </a:lnTo>
                <a:lnTo>
                  <a:pt x="528" y="457"/>
                </a:lnTo>
                <a:lnTo>
                  <a:pt x="528" y="451"/>
                </a:lnTo>
                <a:lnTo>
                  <a:pt x="467" y="433"/>
                </a:lnTo>
                <a:lnTo>
                  <a:pt x="441" y="341"/>
                </a:lnTo>
                <a:lnTo>
                  <a:pt x="483" y="280"/>
                </a:lnTo>
                <a:lnTo>
                  <a:pt x="443" y="212"/>
                </a:lnTo>
                <a:lnTo>
                  <a:pt x="373" y="216"/>
                </a:lnTo>
                <a:lnTo>
                  <a:pt x="320" y="165"/>
                </a:lnTo>
                <a:lnTo>
                  <a:pt x="328" y="96"/>
                </a:lnTo>
                <a:lnTo>
                  <a:pt x="253" y="48"/>
                </a:lnTo>
                <a:lnTo>
                  <a:pt x="195" y="90"/>
                </a:lnTo>
                <a:lnTo>
                  <a:pt x="98" y="62"/>
                </a:lnTo>
                <a:lnTo>
                  <a:pt x="89" y="3"/>
                </a:lnTo>
                <a:lnTo>
                  <a:pt x="31" y="0"/>
                </a:lnTo>
                <a:lnTo>
                  <a:pt x="0" y="64"/>
                </a:lnTo>
                <a:lnTo>
                  <a:pt x="34" y="138"/>
                </a:lnTo>
                <a:lnTo>
                  <a:pt x="35" y="138"/>
                </a:lnTo>
                <a:lnTo>
                  <a:pt x="37" y="138"/>
                </a:lnTo>
                <a:lnTo>
                  <a:pt x="40" y="138"/>
                </a:lnTo>
                <a:lnTo>
                  <a:pt x="43" y="138"/>
                </a:lnTo>
                <a:lnTo>
                  <a:pt x="48" y="138"/>
                </a:lnTo>
                <a:lnTo>
                  <a:pt x="53" y="138"/>
                </a:lnTo>
                <a:lnTo>
                  <a:pt x="59" y="139"/>
                </a:lnTo>
                <a:lnTo>
                  <a:pt x="62" y="139"/>
                </a:lnTo>
                <a:lnTo>
                  <a:pt x="65" y="139"/>
                </a:lnTo>
                <a:lnTo>
                  <a:pt x="68" y="139"/>
                </a:lnTo>
                <a:lnTo>
                  <a:pt x="72" y="140"/>
                </a:lnTo>
                <a:lnTo>
                  <a:pt x="76" y="140"/>
                </a:lnTo>
                <a:lnTo>
                  <a:pt x="79" y="141"/>
                </a:lnTo>
                <a:lnTo>
                  <a:pt x="84" y="141"/>
                </a:lnTo>
                <a:lnTo>
                  <a:pt x="88" y="143"/>
                </a:lnTo>
                <a:lnTo>
                  <a:pt x="91" y="143"/>
                </a:lnTo>
                <a:lnTo>
                  <a:pt x="96" y="144"/>
                </a:lnTo>
                <a:lnTo>
                  <a:pt x="100" y="145"/>
                </a:lnTo>
                <a:lnTo>
                  <a:pt x="106" y="146"/>
                </a:lnTo>
                <a:lnTo>
                  <a:pt x="109" y="147"/>
                </a:lnTo>
                <a:lnTo>
                  <a:pt x="114" y="149"/>
                </a:lnTo>
                <a:lnTo>
                  <a:pt x="119" y="150"/>
                </a:lnTo>
                <a:lnTo>
                  <a:pt x="123" y="151"/>
                </a:lnTo>
                <a:lnTo>
                  <a:pt x="128" y="151"/>
                </a:lnTo>
                <a:lnTo>
                  <a:pt x="133" y="152"/>
                </a:lnTo>
                <a:lnTo>
                  <a:pt x="138" y="155"/>
                </a:lnTo>
                <a:lnTo>
                  <a:pt x="144" y="156"/>
                </a:lnTo>
                <a:lnTo>
                  <a:pt x="149" y="157"/>
                </a:lnTo>
                <a:lnTo>
                  <a:pt x="153" y="159"/>
                </a:lnTo>
                <a:lnTo>
                  <a:pt x="158" y="161"/>
                </a:lnTo>
                <a:lnTo>
                  <a:pt x="164" y="163"/>
                </a:lnTo>
                <a:lnTo>
                  <a:pt x="169" y="164"/>
                </a:lnTo>
                <a:lnTo>
                  <a:pt x="174" y="167"/>
                </a:lnTo>
                <a:lnTo>
                  <a:pt x="180" y="169"/>
                </a:lnTo>
                <a:lnTo>
                  <a:pt x="185" y="171"/>
                </a:lnTo>
                <a:lnTo>
                  <a:pt x="189" y="174"/>
                </a:lnTo>
                <a:lnTo>
                  <a:pt x="195" y="176"/>
                </a:lnTo>
                <a:lnTo>
                  <a:pt x="200" y="178"/>
                </a:lnTo>
                <a:lnTo>
                  <a:pt x="206" y="182"/>
                </a:lnTo>
                <a:lnTo>
                  <a:pt x="211" y="184"/>
                </a:lnTo>
                <a:lnTo>
                  <a:pt x="217" y="188"/>
                </a:lnTo>
                <a:lnTo>
                  <a:pt x="222" y="190"/>
                </a:lnTo>
                <a:lnTo>
                  <a:pt x="226" y="194"/>
                </a:lnTo>
                <a:lnTo>
                  <a:pt x="231" y="198"/>
                </a:lnTo>
                <a:lnTo>
                  <a:pt x="237" y="200"/>
                </a:lnTo>
                <a:lnTo>
                  <a:pt x="242" y="205"/>
                </a:lnTo>
                <a:lnTo>
                  <a:pt x="247" y="208"/>
                </a:lnTo>
                <a:lnTo>
                  <a:pt x="252" y="212"/>
                </a:lnTo>
                <a:lnTo>
                  <a:pt x="256" y="216"/>
                </a:lnTo>
                <a:lnTo>
                  <a:pt x="261" y="220"/>
                </a:lnTo>
                <a:lnTo>
                  <a:pt x="266" y="225"/>
                </a:lnTo>
                <a:lnTo>
                  <a:pt x="271" y="229"/>
                </a:lnTo>
                <a:lnTo>
                  <a:pt x="276" y="234"/>
                </a:lnTo>
                <a:lnTo>
                  <a:pt x="280" y="238"/>
                </a:lnTo>
                <a:lnTo>
                  <a:pt x="285" y="244"/>
                </a:lnTo>
                <a:lnTo>
                  <a:pt x="289" y="248"/>
                </a:lnTo>
                <a:lnTo>
                  <a:pt x="292" y="250"/>
                </a:lnTo>
                <a:lnTo>
                  <a:pt x="297" y="254"/>
                </a:lnTo>
                <a:lnTo>
                  <a:pt x="301" y="259"/>
                </a:lnTo>
                <a:lnTo>
                  <a:pt x="304" y="261"/>
                </a:lnTo>
                <a:lnTo>
                  <a:pt x="308" y="266"/>
                </a:lnTo>
                <a:lnTo>
                  <a:pt x="312" y="269"/>
                </a:lnTo>
                <a:lnTo>
                  <a:pt x="315" y="273"/>
                </a:lnTo>
                <a:lnTo>
                  <a:pt x="318" y="277"/>
                </a:lnTo>
                <a:lnTo>
                  <a:pt x="320" y="281"/>
                </a:lnTo>
                <a:lnTo>
                  <a:pt x="323" y="285"/>
                </a:lnTo>
                <a:lnTo>
                  <a:pt x="327" y="289"/>
                </a:lnTo>
                <a:lnTo>
                  <a:pt x="329" y="293"/>
                </a:lnTo>
                <a:lnTo>
                  <a:pt x="332" y="297"/>
                </a:lnTo>
                <a:lnTo>
                  <a:pt x="335" y="301"/>
                </a:lnTo>
                <a:lnTo>
                  <a:pt x="338" y="305"/>
                </a:lnTo>
                <a:lnTo>
                  <a:pt x="340" y="309"/>
                </a:lnTo>
                <a:lnTo>
                  <a:pt x="343" y="314"/>
                </a:lnTo>
                <a:lnTo>
                  <a:pt x="345" y="317"/>
                </a:lnTo>
                <a:lnTo>
                  <a:pt x="347" y="322"/>
                </a:lnTo>
                <a:lnTo>
                  <a:pt x="349" y="326"/>
                </a:lnTo>
                <a:lnTo>
                  <a:pt x="351" y="330"/>
                </a:lnTo>
                <a:lnTo>
                  <a:pt x="353" y="334"/>
                </a:lnTo>
                <a:lnTo>
                  <a:pt x="356" y="339"/>
                </a:lnTo>
                <a:lnTo>
                  <a:pt x="358" y="344"/>
                </a:lnTo>
                <a:lnTo>
                  <a:pt x="359" y="347"/>
                </a:lnTo>
                <a:lnTo>
                  <a:pt x="362" y="352"/>
                </a:lnTo>
                <a:lnTo>
                  <a:pt x="363" y="357"/>
                </a:lnTo>
                <a:lnTo>
                  <a:pt x="365" y="360"/>
                </a:lnTo>
                <a:lnTo>
                  <a:pt x="367" y="365"/>
                </a:lnTo>
                <a:lnTo>
                  <a:pt x="369" y="370"/>
                </a:lnTo>
                <a:lnTo>
                  <a:pt x="370" y="374"/>
                </a:lnTo>
                <a:lnTo>
                  <a:pt x="371" y="378"/>
                </a:lnTo>
                <a:lnTo>
                  <a:pt x="373" y="382"/>
                </a:lnTo>
                <a:lnTo>
                  <a:pt x="374" y="386"/>
                </a:lnTo>
                <a:lnTo>
                  <a:pt x="375" y="390"/>
                </a:lnTo>
                <a:lnTo>
                  <a:pt x="376" y="395"/>
                </a:lnTo>
                <a:lnTo>
                  <a:pt x="377" y="399"/>
                </a:lnTo>
                <a:lnTo>
                  <a:pt x="379" y="403"/>
                </a:lnTo>
                <a:lnTo>
                  <a:pt x="380" y="408"/>
                </a:lnTo>
                <a:lnTo>
                  <a:pt x="381" y="412"/>
                </a:lnTo>
                <a:lnTo>
                  <a:pt x="382" y="415"/>
                </a:lnTo>
                <a:lnTo>
                  <a:pt x="382" y="420"/>
                </a:lnTo>
                <a:lnTo>
                  <a:pt x="383" y="424"/>
                </a:lnTo>
                <a:lnTo>
                  <a:pt x="385" y="429"/>
                </a:lnTo>
                <a:lnTo>
                  <a:pt x="386" y="432"/>
                </a:lnTo>
                <a:lnTo>
                  <a:pt x="386" y="436"/>
                </a:lnTo>
                <a:lnTo>
                  <a:pt x="387" y="441"/>
                </a:lnTo>
                <a:lnTo>
                  <a:pt x="387" y="444"/>
                </a:lnTo>
                <a:lnTo>
                  <a:pt x="387" y="448"/>
                </a:lnTo>
                <a:lnTo>
                  <a:pt x="388" y="451"/>
                </a:lnTo>
                <a:lnTo>
                  <a:pt x="388" y="456"/>
                </a:lnTo>
                <a:lnTo>
                  <a:pt x="389" y="459"/>
                </a:lnTo>
                <a:lnTo>
                  <a:pt x="389" y="463"/>
                </a:lnTo>
                <a:lnTo>
                  <a:pt x="391" y="467"/>
                </a:lnTo>
                <a:lnTo>
                  <a:pt x="391" y="470"/>
                </a:lnTo>
                <a:lnTo>
                  <a:pt x="391" y="474"/>
                </a:lnTo>
                <a:lnTo>
                  <a:pt x="392" y="478"/>
                </a:lnTo>
                <a:lnTo>
                  <a:pt x="392" y="481"/>
                </a:lnTo>
                <a:lnTo>
                  <a:pt x="392" y="485"/>
                </a:lnTo>
                <a:lnTo>
                  <a:pt x="392" y="488"/>
                </a:lnTo>
                <a:lnTo>
                  <a:pt x="393" y="492"/>
                </a:lnTo>
                <a:lnTo>
                  <a:pt x="393" y="496"/>
                </a:lnTo>
                <a:lnTo>
                  <a:pt x="394" y="499"/>
                </a:lnTo>
                <a:lnTo>
                  <a:pt x="393" y="500"/>
                </a:lnTo>
                <a:lnTo>
                  <a:pt x="393" y="504"/>
                </a:lnTo>
                <a:lnTo>
                  <a:pt x="393" y="508"/>
                </a:lnTo>
                <a:lnTo>
                  <a:pt x="393" y="512"/>
                </a:lnTo>
                <a:lnTo>
                  <a:pt x="392" y="517"/>
                </a:lnTo>
                <a:lnTo>
                  <a:pt x="391" y="523"/>
                </a:lnTo>
                <a:lnTo>
                  <a:pt x="391" y="526"/>
                </a:lnTo>
                <a:lnTo>
                  <a:pt x="391" y="529"/>
                </a:lnTo>
                <a:lnTo>
                  <a:pt x="389" y="532"/>
                </a:lnTo>
                <a:lnTo>
                  <a:pt x="389" y="535"/>
                </a:lnTo>
                <a:lnTo>
                  <a:pt x="388" y="539"/>
                </a:lnTo>
                <a:lnTo>
                  <a:pt x="388" y="542"/>
                </a:lnTo>
                <a:lnTo>
                  <a:pt x="387" y="545"/>
                </a:lnTo>
                <a:lnTo>
                  <a:pt x="387" y="549"/>
                </a:lnTo>
                <a:lnTo>
                  <a:pt x="386" y="553"/>
                </a:lnTo>
                <a:lnTo>
                  <a:pt x="386" y="557"/>
                </a:lnTo>
                <a:lnTo>
                  <a:pt x="385" y="560"/>
                </a:lnTo>
                <a:lnTo>
                  <a:pt x="385" y="565"/>
                </a:lnTo>
                <a:lnTo>
                  <a:pt x="383" y="569"/>
                </a:lnTo>
                <a:lnTo>
                  <a:pt x="382" y="573"/>
                </a:lnTo>
                <a:lnTo>
                  <a:pt x="381" y="577"/>
                </a:lnTo>
                <a:lnTo>
                  <a:pt x="380" y="582"/>
                </a:lnTo>
                <a:lnTo>
                  <a:pt x="379" y="585"/>
                </a:lnTo>
                <a:lnTo>
                  <a:pt x="377" y="590"/>
                </a:lnTo>
                <a:lnTo>
                  <a:pt x="376" y="595"/>
                </a:lnTo>
                <a:lnTo>
                  <a:pt x="375" y="600"/>
                </a:lnTo>
                <a:lnTo>
                  <a:pt x="374" y="603"/>
                </a:lnTo>
                <a:lnTo>
                  <a:pt x="373" y="608"/>
                </a:lnTo>
                <a:lnTo>
                  <a:pt x="370" y="613"/>
                </a:lnTo>
                <a:lnTo>
                  <a:pt x="369" y="618"/>
                </a:lnTo>
                <a:lnTo>
                  <a:pt x="367" y="622"/>
                </a:lnTo>
                <a:lnTo>
                  <a:pt x="365" y="627"/>
                </a:lnTo>
                <a:lnTo>
                  <a:pt x="363" y="631"/>
                </a:lnTo>
                <a:lnTo>
                  <a:pt x="362" y="637"/>
                </a:lnTo>
                <a:lnTo>
                  <a:pt x="359" y="642"/>
                </a:lnTo>
                <a:lnTo>
                  <a:pt x="357" y="645"/>
                </a:lnTo>
                <a:lnTo>
                  <a:pt x="355" y="650"/>
                </a:lnTo>
                <a:lnTo>
                  <a:pt x="353" y="655"/>
                </a:lnTo>
                <a:lnTo>
                  <a:pt x="351" y="660"/>
                </a:lnTo>
                <a:lnTo>
                  <a:pt x="349" y="664"/>
                </a:lnTo>
                <a:lnTo>
                  <a:pt x="346" y="669"/>
                </a:lnTo>
                <a:lnTo>
                  <a:pt x="344" y="675"/>
                </a:lnTo>
                <a:lnTo>
                  <a:pt x="340" y="679"/>
                </a:lnTo>
                <a:lnTo>
                  <a:pt x="338" y="683"/>
                </a:lnTo>
                <a:lnTo>
                  <a:pt x="334" y="688"/>
                </a:lnTo>
                <a:lnTo>
                  <a:pt x="332" y="693"/>
                </a:lnTo>
                <a:lnTo>
                  <a:pt x="328" y="698"/>
                </a:lnTo>
                <a:lnTo>
                  <a:pt x="325" y="703"/>
                </a:lnTo>
                <a:lnTo>
                  <a:pt x="321" y="706"/>
                </a:lnTo>
                <a:lnTo>
                  <a:pt x="319" y="712"/>
                </a:lnTo>
                <a:lnTo>
                  <a:pt x="315" y="716"/>
                </a:lnTo>
                <a:lnTo>
                  <a:pt x="312" y="721"/>
                </a:lnTo>
                <a:lnTo>
                  <a:pt x="307" y="725"/>
                </a:lnTo>
                <a:lnTo>
                  <a:pt x="303" y="729"/>
                </a:lnTo>
                <a:lnTo>
                  <a:pt x="300" y="734"/>
                </a:lnTo>
                <a:lnTo>
                  <a:pt x="295" y="739"/>
                </a:lnTo>
                <a:lnTo>
                  <a:pt x="291" y="742"/>
                </a:lnTo>
                <a:lnTo>
                  <a:pt x="288" y="747"/>
                </a:lnTo>
                <a:lnTo>
                  <a:pt x="285" y="747"/>
                </a:lnTo>
                <a:lnTo>
                  <a:pt x="283" y="751"/>
                </a:lnTo>
                <a:lnTo>
                  <a:pt x="280" y="752"/>
                </a:lnTo>
                <a:lnTo>
                  <a:pt x="278" y="755"/>
                </a:lnTo>
                <a:lnTo>
                  <a:pt x="274" y="759"/>
                </a:lnTo>
                <a:lnTo>
                  <a:pt x="271" y="762"/>
                </a:lnTo>
                <a:lnTo>
                  <a:pt x="266" y="765"/>
                </a:lnTo>
                <a:lnTo>
                  <a:pt x="261" y="770"/>
                </a:lnTo>
                <a:lnTo>
                  <a:pt x="255" y="773"/>
                </a:lnTo>
                <a:lnTo>
                  <a:pt x="250" y="778"/>
                </a:lnTo>
                <a:lnTo>
                  <a:pt x="247" y="780"/>
                </a:lnTo>
                <a:lnTo>
                  <a:pt x="243" y="783"/>
                </a:lnTo>
                <a:lnTo>
                  <a:pt x="241" y="785"/>
                </a:lnTo>
                <a:lnTo>
                  <a:pt x="237" y="788"/>
                </a:lnTo>
                <a:lnTo>
                  <a:pt x="234" y="790"/>
                </a:lnTo>
                <a:lnTo>
                  <a:pt x="230" y="792"/>
                </a:lnTo>
                <a:lnTo>
                  <a:pt x="226" y="795"/>
                </a:lnTo>
                <a:lnTo>
                  <a:pt x="223" y="798"/>
                </a:lnTo>
                <a:lnTo>
                  <a:pt x="218" y="800"/>
                </a:lnTo>
                <a:lnTo>
                  <a:pt x="214" y="802"/>
                </a:lnTo>
                <a:lnTo>
                  <a:pt x="210" y="804"/>
                </a:lnTo>
                <a:lnTo>
                  <a:pt x="206" y="807"/>
                </a:lnTo>
                <a:lnTo>
                  <a:pt x="201" y="809"/>
                </a:lnTo>
                <a:lnTo>
                  <a:pt x="197" y="812"/>
                </a:lnTo>
                <a:lnTo>
                  <a:pt x="192" y="814"/>
                </a:lnTo>
                <a:lnTo>
                  <a:pt x="187" y="816"/>
                </a:lnTo>
                <a:lnTo>
                  <a:pt x="182" y="819"/>
                </a:lnTo>
                <a:lnTo>
                  <a:pt x="176" y="821"/>
                </a:lnTo>
                <a:lnTo>
                  <a:pt x="171" y="823"/>
                </a:lnTo>
                <a:lnTo>
                  <a:pt x="167" y="825"/>
                </a:lnTo>
                <a:lnTo>
                  <a:pt x="161" y="827"/>
                </a:lnTo>
                <a:lnTo>
                  <a:pt x="155" y="829"/>
                </a:lnTo>
                <a:lnTo>
                  <a:pt x="149" y="832"/>
                </a:lnTo>
                <a:lnTo>
                  <a:pt x="144" y="834"/>
                </a:lnTo>
                <a:lnTo>
                  <a:pt x="137" y="835"/>
                </a:lnTo>
                <a:lnTo>
                  <a:pt x="131" y="838"/>
                </a:lnTo>
                <a:lnTo>
                  <a:pt x="125" y="839"/>
                </a:lnTo>
                <a:lnTo>
                  <a:pt x="119" y="840"/>
                </a:lnTo>
                <a:lnTo>
                  <a:pt x="111" y="841"/>
                </a:lnTo>
                <a:lnTo>
                  <a:pt x="104" y="844"/>
                </a:lnTo>
                <a:lnTo>
                  <a:pt x="98" y="845"/>
                </a:lnTo>
                <a:lnTo>
                  <a:pt x="91" y="846"/>
                </a:lnTo>
                <a:lnTo>
                  <a:pt x="84" y="847"/>
                </a:lnTo>
                <a:lnTo>
                  <a:pt x="77" y="849"/>
                </a:lnTo>
                <a:lnTo>
                  <a:pt x="70" y="850"/>
                </a:lnTo>
                <a:lnTo>
                  <a:pt x="62" y="850"/>
                </a:lnTo>
                <a:lnTo>
                  <a:pt x="54" y="851"/>
                </a:lnTo>
                <a:lnTo>
                  <a:pt x="47" y="851"/>
                </a:lnTo>
                <a:lnTo>
                  <a:pt x="40" y="852"/>
                </a:lnTo>
                <a:lnTo>
                  <a:pt x="32" y="852"/>
                </a:lnTo>
                <a:close/>
              </a:path>
            </a:pathLst>
          </a:custGeom>
          <a:solidFill>
            <a:srgbClr val="EAEAEA"/>
          </a:solidFill>
          <a:ln w="9525">
            <a:noFill/>
            <a:round/>
            <a:headEnd/>
            <a:tailEnd/>
          </a:ln>
        </p:spPr>
        <p:txBody>
          <a:bodyPr/>
          <a:lstStyle/>
          <a:p>
            <a:endParaRPr lang="en-US"/>
          </a:p>
        </p:txBody>
      </p:sp>
      <p:sp>
        <p:nvSpPr>
          <p:cNvPr id="50191" name="Freeform 25"/>
          <p:cNvSpPr>
            <a:spLocks noChangeAspect="1"/>
          </p:cNvSpPr>
          <p:nvPr/>
        </p:nvSpPr>
        <p:spPr bwMode="gray">
          <a:xfrm>
            <a:off x="1419225" y="2986088"/>
            <a:ext cx="1052513" cy="1949450"/>
          </a:xfrm>
          <a:custGeom>
            <a:avLst/>
            <a:gdLst>
              <a:gd name="T0" fmla="*/ 2147483647 w 523"/>
              <a:gd name="T1" fmla="*/ 2147483647 h 992"/>
              <a:gd name="T2" fmla="*/ 2147483647 w 523"/>
              <a:gd name="T3" fmla="*/ 2147483647 h 992"/>
              <a:gd name="T4" fmla="*/ 2147483647 w 523"/>
              <a:gd name="T5" fmla="*/ 2147483647 h 992"/>
              <a:gd name="T6" fmla="*/ 0 w 523"/>
              <a:gd name="T7" fmla="*/ 2147483647 h 992"/>
              <a:gd name="T8" fmla="*/ 0 w 523"/>
              <a:gd name="T9" fmla="*/ 2147483647 h 992"/>
              <a:gd name="T10" fmla="*/ 0 w 523"/>
              <a:gd name="T11" fmla="*/ 2147483647 h 992"/>
              <a:gd name="T12" fmla="*/ 0 w 523"/>
              <a:gd name="T13" fmla="*/ 2147483647 h 992"/>
              <a:gd name="T14" fmla="*/ 2147483647 w 523"/>
              <a:gd name="T15" fmla="*/ 2147483647 h 992"/>
              <a:gd name="T16" fmla="*/ 2147483647 w 523"/>
              <a:gd name="T17" fmla="*/ 2147483647 h 992"/>
              <a:gd name="T18" fmla="*/ 2147483647 w 523"/>
              <a:gd name="T19" fmla="*/ 2147483647 h 992"/>
              <a:gd name="T20" fmla="*/ 2147483647 w 523"/>
              <a:gd name="T21" fmla="*/ 2147483647 h 992"/>
              <a:gd name="T22" fmla="*/ 2147483647 w 523"/>
              <a:gd name="T23" fmla="*/ 2147483647 h 992"/>
              <a:gd name="T24" fmla="*/ 2147483647 w 523"/>
              <a:gd name="T25" fmla="*/ 2147483647 h 992"/>
              <a:gd name="T26" fmla="*/ 2147483647 w 523"/>
              <a:gd name="T27" fmla="*/ 2147483647 h 992"/>
              <a:gd name="T28" fmla="*/ 2147483647 w 523"/>
              <a:gd name="T29" fmla="*/ 2147483647 h 992"/>
              <a:gd name="T30" fmla="*/ 2147483647 w 523"/>
              <a:gd name="T31" fmla="*/ 2147483647 h 992"/>
              <a:gd name="T32" fmla="*/ 2147483647 w 523"/>
              <a:gd name="T33" fmla="*/ 2147483647 h 992"/>
              <a:gd name="T34" fmla="*/ 2147483647 w 523"/>
              <a:gd name="T35" fmla="*/ 2147483647 h 992"/>
              <a:gd name="T36" fmla="*/ 2147483647 w 523"/>
              <a:gd name="T37" fmla="*/ 2147483647 h 992"/>
              <a:gd name="T38" fmla="*/ 2147483647 w 523"/>
              <a:gd name="T39" fmla="*/ 2147483647 h 992"/>
              <a:gd name="T40" fmla="*/ 2147483647 w 523"/>
              <a:gd name="T41" fmla="*/ 2147483647 h 992"/>
              <a:gd name="T42" fmla="*/ 2147483647 w 523"/>
              <a:gd name="T43" fmla="*/ 2147483647 h 992"/>
              <a:gd name="T44" fmla="*/ 2147483647 w 523"/>
              <a:gd name="T45" fmla="*/ 2147483647 h 992"/>
              <a:gd name="T46" fmla="*/ 2147483647 w 523"/>
              <a:gd name="T47" fmla="*/ 2147483647 h 992"/>
              <a:gd name="T48" fmla="*/ 2147483647 w 523"/>
              <a:gd name="T49" fmla="*/ 2147483647 h 992"/>
              <a:gd name="T50" fmla="*/ 2147483647 w 523"/>
              <a:gd name="T51" fmla="*/ 2147483647 h 992"/>
              <a:gd name="T52" fmla="*/ 2147483647 w 523"/>
              <a:gd name="T53" fmla="*/ 2147483647 h 992"/>
              <a:gd name="T54" fmla="*/ 2147483647 w 523"/>
              <a:gd name="T55" fmla="*/ 2147483647 h 992"/>
              <a:gd name="T56" fmla="*/ 2147483647 w 523"/>
              <a:gd name="T57" fmla="*/ 2147483647 h 992"/>
              <a:gd name="T58" fmla="*/ 2147483647 w 523"/>
              <a:gd name="T59" fmla="*/ 2147483647 h 992"/>
              <a:gd name="T60" fmla="*/ 2147483647 w 523"/>
              <a:gd name="T61" fmla="*/ 2147483647 h 992"/>
              <a:gd name="T62" fmla="*/ 2147483647 w 523"/>
              <a:gd name="T63" fmla="*/ 2147483647 h 992"/>
              <a:gd name="T64" fmla="*/ 2147483647 w 523"/>
              <a:gd name="T65" fmla="*/ 2147483647 h 992"/>
              <a:gd name="T66" fmla="*/ 2147483647 w 523"/>
              <a:gd name="T67" fmla="*/ 2147483647 h 992"/>
              <a:gd name="T68" fmla="*/ 2147483647 w 523"/>
              <a:gd name="T69" fmla="*/ 2147483647 h 992"/>
              <a:gd name="T70" fmla="*/ 2147483647 w 523"/>
              <a:gd name="T71" fmla="*/ 2147483647 h 992"/>
              <a:gd name="T72" fmla="*/ 2147483647 w 523"/>
              <a:gd name="T73" fmla="*/ 2147483647 h 992"/>
              <a:gd name="T74" fmla="*/ 2147483647 w 523"/>
              <a:gd name="T75" fmla="*/ 2147483647 h 992"/>
              <a:gd name="T76" fmla="*/ 2147483647 w 523"/>
              <a:gd name="T77" fmla="*/ 2147483647 h 992"/>
              <a:gd name="T78" fmla="*/ 2147483647 w 523"/>
              <a:gd name="T79" fmla="*/ 2147483647 h 992"/>
              <a:gd name="T80" fmla="*/ 2147483647 w 523"/>
              <a:gd name="T81" fmla="*/ 2147483647 h 992"/>
              <a:gd name="T82" fmla="*/ 2147483647 w 523"/>
              <a:gd name="T83" fmla="*/ 2147483647 h 992"/>
              <a:gd name="T84" fmla="*/ 2147483647 w 523"/>
              <a:gd name="T85" fmla="*/ 2147483647 h 992"/>
              <a:gd name="T86" fmla="*/ 2147483647 w 523"/>
              <a:gd name="T87" fmla="*/ 2147483647 h 992"/>
              <a:gd name="T88" fmla="*/ 2147483647 w 523"/>
              <a:gd name="T89" fmla="*/ 2147483647 h 992"/>
              <a:gd name="T90" fmla="*/ 2147483647 w 523"/>
              <a:gd name="T91" fmla="*/ 2147483647 h 992"/>
              <a:gd name="T92" fmla="*/ 2147483647 w 523"/>
              <a:gd name="T93" fmla="*/ 2147483647 h 992"/>
              <a:gd name="T94" fmla="*/ 2147483647 w 523"/>
              <a:gd name="T95" fmla="*/ 2147483647 h 992"/>
              <a:gd name="T96" fmla="*/ 2147483647 w 523"/>
              <a:gd name="T97" fmla="*/ 2147483647 h 992"/>
              <a:gd name="T98" fmla="*/ 2147483647 w 523"/>
              <a:gd name="T99" fmla="*/ 2147483647 h 992"/>
              <a:gd name="T100" fmla="*/ 2147483647 w 523"/>
              <a:gd name="T101" fmla="*/ 2147483647 h 992"/>
              <a:gd name="T102" fmla="*/ 2147483647 w 523"/>
              <a:gd name="T103" fmla="*/ 2147483647 h 992"/>
              <a:gd name="T104" fmla="*/ 2147483647 w 523"/>
              <a:gd name="T105" fmla="*/ 2147483647 h 9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3"/>
              <a:gd name="T160" fmla="*/ 0 h 992"/>
              <a:gd name="T161" fmla="*/ 523 w 523"/>
              <a:gd name="T162" fmla="*/ 992 h 9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3" h="992">
                <a:moveTo>
                  <a:pt x="500" y="139"/>
                </a:moveTo>
                <a:lnTo>
                  <a:pt x="497" y="0"/>
                </a:lnTo>
                <a:lnTo>
                  <a:pt x="453" y="1"/>
                </a:lnTo>
                <a:lnTo>
                  <a:pt x="435" y="63"/>
                </a:lnTo>
                <a:lnTo>
                  <a:pt x="341" y="89"/>
                </a:lnTo>
                <a:lnTo>
                  <a:pt x="281" y="48"/>
                </a:lnTo>
                <a:lnTo>
                  <a:pt x="213" y="86"/>
                </a:lnTo>
                <a:lnTo>
                  <a:pt x="217" y="158"/>
                </a:lnTo>
                <a:lnTo>
                  <a:pt x="166" y="212"/>
                </a:lnTo>
                <a:lnTo>
                  <a:pt x="96" y="201"/>
                </a:lnTo>
                <a:lnTo>
                  <a:pt x="49" y="276"/>
                </a:lnTo>
                <a:lnTo>
                  <a:pt x="91" y="335"/>
                </a:lnTo>
                <a:lnTo>
                  <a:pt x="63" y="424"/>
                </a:lnTo>
                <a:lnTo>
                  <a:pt x="2" y="440"/>
                </a:lnTo>
                <a:lnTo>
                  <a:pt x="1" y="445"/>
                </a:lnTo>
                <a:lnTo>
                  <a:pt x="1" y="450"/>
                </a:lnTo>
                <a:lnTo>
                  <a:pt x="0" y="456"/>
                </a:lnTo>
                <a:lnTo>
                  <a:pt x="0" y="462"/>
                </a:lnTo>
                <a:lnTo>
                  <a:pt x="0" y="468"/>
                </a:lnTo>
                <a:lnTo>
                  <a:pt x="0" y="474"/>
                </a:lnTo>
                <a:lnTo>
                  <a:pt x="0" y="477"/>
                </a:lnTo>
                <a:lnTo>
                  <a:pt x="0" y="481"/>
                </a:lnTo>
                <a:lnTo>
                  <a:pt x="0" y="483"/>
                </a:lnTo>
                <a:lnTo>
                  <a:pt x="0" y="487"/>
                </a:lnTo>
                <a:lnTo>
                  <a:pt x="0" y="491"/>
                </a:lnTo>
                <a:lnTo>
                  <a:pt x="0" y="494"/>
                </a:lnTo>
                <a:lnTo>
                  <a:pt x="0" y="497"/>
                </a:lnTo>
                <a:lnTo>
                  <a:pt x="0" y="500"/>
                </a:lnTo>
                <a:lnTo>
                  <a:pt x="0" y="504"/>
                </a:lnTo>
                <a:lnTo>
                  <a:pt x="0" y="507"/>
                </a:lnTo>
                <a:lnTo>
                  <a:pt x="0" y="511"/>
                </a:lnTo>
                <a:lnTo>
                  <a:pt x="0" y="515"/>
                </a:lnTo>
                <a:lnTo>
                  <a:pt x="0" y="518"/>
                </a:lnTo>
                <a:lnTo>
                  <a:pt x="0" y="521"/>
                </a:lnTo>
                <a:lnTo>
                  <a:pt x="0" y="524"/>
                </a:lnTo>
                <a:lnTo>
                  <a:pt x="1" y="528"/>
                </a:lnTo>
                <a:lnTo>
                  <a:pt x="1" y="531"/>
                </a:lnTo>
                <a:lnTo>
                  <a:pt x="1" y="535"/>
                </a:lnTo>
                <a:lnTo>
                  <a:pt x="2" y="538"/>
                </a:lnTo>
                <a:lnTo>
                  <a:pt x="2" y="542"/>
                </a:lnTo>
                <a:lnTo>
                  <a:pt x="63" y="559"/>
                </a:lnTo>
                <a:lnTo>
                  <a:pt x="88" y="652"/>
                </a:lnTo>
                <a:lnTo>
                  <a:pt x="48" y="711"/>
                </a:lnTo>
                <a:lnTo>
                  <a:pt x="86" y="780"/>
                </a:lnTo>
                <a:lnTo>
                  <a:pt x="158" y="777"/>
                </a:lnTo>
                <a:lnTo>
                  <a:pt x="212" y="826"/>
                </a:lnTo>
                <a:lnTo>
                  <a:pt x="201" y="897"/>
                </a:lnTo>
                <a:lnTo>
                  <a:pt x="278" y="944"/>
                </a:lnTo>
                <a:lnTo>
                  <a:pt x="334" y="903"/>
                </a:lnTo>
                <a:lnTo>
                  <a:pt x="431" y="931"/>
                </a:lnTo>
                <a:lnTo>
                  <a:pt x="442" y="988"/>
                </a:lnTo>
                <a:lnTo>
                  <a:pt x="497" y="992"/>
                </a:lnTo>
                <a:lnTo>
                  <a:pt x="523" y="935"/>
                </a:lnTo>
                <a:lnTo>
                  <a:pt x="496" y="853"/>
                </a:lnTo>
                <a:lnTo>
                  <a:pt x="494" y="853"/>
                </a:lnTo>
                <a:lnTo>
                  <a:pt x="493" y="853"/>
                </a:lnTo>
                <a:lnTo>
                  <a:pt x="491" y="853"/>
                </a:lnTo>
                <a:lnTo>
                  <a:pt x="488" y="853"/>
                </a:lnTo>
                <a:lnTo>
                  <a:pt x="484" y="852"/>
                </a:lnTo>
                <a:lnTo>
                  <a:pt x="479" y="852"/>
                </a:lnTo>
                <a:lnTo>
                  <a:pt x="474" y="852"/>
                </a:lnTo>
                <a:lnTo>
                  <a:pt x="469" y="852"/>
                </a:lnTo>
                <a:lnTo>
                  <a:pt x="466" y="851"/>
                </a:lnTo>
                <a:lnTo>
                  <a:pt x="462" y="851"/>
                </a:lnTo>
                <a:lnTo>
                  <a:pt x="459" y="851"/>
                </a:lnTo>
                <a:lnTo>
                  <a:pt x="455" y="850"/>
                </a:lnTo>
                <a:lnTo>
                  <a:pt x="451" y="850"/>
                </a:lnTo>
                <a:lnTo>
                  <a:pt x="448" y="848"/>
                </a:lnTo>
                <a:lnTo>
                  <a:pt x="444" y="848"/>
                </a:lnTo>
                <a:lnTo>
                  <a:pt x="441" y="848"/>
                </a:lnTo>
                <a:lnTo>
                  <a:pt x="436" y="847"/>
                </a:lnTo>
                <a:lnTo>
                  <a:pt x="432" y="846"/>
                </a:lnTo>
                <a:lnTo>
                  <a:pt x="427" y="845"/>
                </a:lnTo>
                <a:lnTo>
                  <a:pt x="424" y="844"/>
                </a:lnTo>
                <a:lnTo>
                  <a:pt x="419" y="842"/>
                </a:lnTo>
                <a:lnTo>
                  <a:pt x="414" y="842"/>
                </a:lnTo>
                <a:lnTo>
                  <a:pt x="409" y="841"/>
                </a:lnTo>
                <a:lnTo>
                  <a:pt x="405" y="840"/>
                </a:lnTo>
                <a:lnTo>
                  <a:pt x="400" y="839"/>
                </a:lnTo>
                <a:lnTo>
                  <a:pt x="395" y="838"/>
                </a:lnTo>
                <a:lnTo>
                  <a:pt x="390" y="836"/>
                </a:lnTo>
                <a:lnTo>
                  <a:pt x="384" y="835"/>
                </a:lnTo>
                <a:lnTo>
                  <a:pt x="379" y="833"/>
                </a:lnTo>
                <a:lnTo>
                  <a:pt x="375" y="832"/>
                </a:lnTo>
                <a:lnTo>
                  <a:pt x="369" y="829"/>
                </a:lnTo>
                <a:lnTo>
                  <a:pt x="365" y="828"/>
                </a:lnTo>
                <a:lnTo>
                  <a:pt x="359" y="826"/>
                </a:lnTo>
                <a:lnTo>
                  <a:pt x="354" y="823"/>
                </a:lnTo>
                <a:lnTo>
                  <a:pt x="348" y="821"/>
                </a:lnTo>
                <a:lnTo>
                  <a:pt x="344" y="820"/>
                </a:lnTo>
                <a:lnTo>
                  <a:pt x="339" y="816"/>
                </a:lnTo>
                <a:lnTo>
                  <a:pt x="334" y="814"/>
                </a:lnTo>
                <a:lnTo>
                  <a:pt x="328" y="813"/>
                </a:lnTo>
                <a:lnTo>
                  <a:pt x="323" y="810"/>
                </a:lnTo>
                <a:lnTo>
                  <a:pt x="317" y="807"/>
                </a:lnTo>
                <a:lnTo>
                  <a:pt x="312" y="803"/>
                </a:lnTo>
                <a:lnTo>
                  <a:pt x="308" y="801"/>
                </a:lnTo>
                <a:lnTo>
                  <a:pt x="302" y="797"/>
                </a:lnTo>
                <a:lnTo>
                  <a:pt x="297" y="793"/>
                </a:lnTo>
                <a:lnTo>
                  <a:pt x="292" y="790"/>
                </a:lnTo>
                <a:lnTo>
                  <a:pt x="286" y="787"/>
                </a:lnTo>
                <a:lnTo>
                  <a:pt x="282" y="784"/>
                </a:lnTo>
                <a:lnTo>
                  <a:pt x="276" y="779"/>
                </a:lnTo>
                <a:lnTo>
                  <a:pt x="272" y="775"/>
                </a:lnTo>
                <a:lnTo>
                  <a:pt x="267" y="772"/>
                </a:lnTo>
                <a:lnTo>
                  <a:pt x="262" y="767"/>
                </a:lnTo>
                <a:lnTo>
                  <a:pt x="257" y="763"/>
                </a:lnTo>
                <a:lnTo>
                  <a:pt x="254" y="759"/>
                </a:lnTo>
                <a:lnTo>
                  <a:pt x="249" y="754"/>
                </a:lnTo>
                <a:lnTo>
                  <a:pt x="245" y="749"/>
                </a:lnTo>
                <a:lnTo>
                  <a:pt x="243" y="748"/>
                </a:lnTo>
                <a:lnTo>
                  <a:pt x="239" y="744"/>
                </a:lnTo>
                <a:lnTo>
                  <a:pt x="237" y="742"/>
                </a:lnTo>
                <a:lnTo>
                  <a:pt x="235" y="740"/>
                </a:lnTo>
                <a:lnTo>
                  <a:pt x="231" y="736"/>
                </a:lnTo>
                <a:lnTo>
                  <a:pt x="229" y="734"/>
                </a:lnTo>
                <a:lnTo>
                  <a:pt x="224" y="729"/>
                </a:lnTo>
                <a:lnTo>
                  <a:pt x="220" y="724"/>
                </a:lnTo>
                <a:lnTo>
                  <a:pt x="215" y="718"/>
                </a:lnTo>
                <a:lnTo>
                  <a:pt x="212" y="713"/>
                </a:lnTo>
                <a:lnTo>
                  <a:pt x="209" y="710"/>
                </a:lnTo>
                <a:lnTo>
                  <a:pt x="207" y="706"/>
                </a:lnTo>
                <a:lnTo>
                  <a:pt x="205" y="704"/>
                </a:lnTo>
                <a:lnTo>
                  <a:pt x="202" y="700"/>
                </a:lnTo>
                <a:lnTo>
                  <a:pt x="200" y="696"/>
                </a:lnTo>
                <a:lnTo>
                  <a:pt x="197" y="693"/>
                </a:lnTo>
                <a:lnTo>
                  <a:pt x="195" y="689"/>
                </a:lnTo>
                <a:lnTo>
                  <a:pt x="193" y="686"/>
                </a:lnTo>
                <a:lnTo>
                  <a:pt x="190" y="681"/>
                </a:lnTo>
                <a:lnTo>
                  <a:pt x="188" y="677"/>
                </a:lnTo>
                <a:lnTo>
                  <a:pt x="185" y="673"/>
                </a:lnTo>
                <a:lnTo>
                  <a:pt x="183" y="668"/>
                </a:lnTo>
                <a:lnTo>
                  <a:pt x="179" y="664"/>
                </a:lnTo>
                <a:lnTo>
                  <a:pt x="178" y="659"/>
                </a:lnTo>
                <a:lnTo>
                  <a:pt x="176" y="653"/>
                </a:lnTo>
                <a:lnTo>
                  <a:pt x="173" y="650"/>
                </a:lnTo>
                <a:lnTo>
                  <a:pt x="171" y="644"/>
                </a:lnTo>
                <a:lnTo>
                  <a:pt x="169" y="639"/>
                </a:lnTo>
                <a:lnTo>
                  <a:pt x="166" y="633"/>
                </a:lnTo>
                <a:lnTo>
                  <a:pt x="165" y="628"/>
                </a:lnTo>
                <a:lnTo>
                  <a:pt x="163" y="622"/>
                </a:lnTo>
                <a:lnTo>
                  <a:pt x="160" y="617"/>
                </a:lnTo>
                <a:lnTo>
                  <a:pt x="158" y="611"/>
                </a:lnTo>
                <a:lnTo>
                  <a:pt x="157" y="606"/>
                </a:lnTo>
                <a:lnTo>
                  <a:pt x="154" y="600"/>
                </a:lnTo>
                <a:lnTo>
                  <a:pt x="153" y="594"/>
                </a:lnTo>
                <a:lnTo>
                  <a:pt x="151" y="588"/>
                </a:lnTo>
                <a:lnTo>
                  <a:pt x="149" y="580"/>
                </a:lnTo>
                <a:lnTo>
                  <a:pt x="147" y="574"/>
                </a:lnTo>
                <a:lnTo>
                  <a:pt x="146" y="567"/>
                </a:lnTo>
                <a:lnTo>
                  <a:pt x="145" y="560"/>
                </a:lnTo>
                <a:lnTo>
                  <a:pt x="144" y="554"/>
                </a:lnTo>
                <a:lnTo>
                  <a:pt x="142" y="547"/>
                </a:lnTo>
                <a:lnTo>
                  <a:pt x="141" y="540"/>
                </a:lnTo>
                <a:lnTo>
                  <a:pt x="140" y="531"/>
                </a:lnTo>
                <a:lnTo>
                  <a:pt x="140" y="525"/>
                </a:lnTo>
                <a:lnTo>
                  <a:pt x="139" y="517"/>
                </a:lnTo>
                <a:lnTo>
                  <a:pt x="138" y="510"/>
                </a:lnTo>
                <a:lnTo>
                  <a:pt x="138" y="501"/>
                </a:lnTo>
                <a:lnTo>
                  <a:pt x="138" y="494"/>
                </a:lnTo>
                <a:lnTo>
                  <a:pt x="138" y="492"/>
                </a:lnTo>
                <a:lnTo>
                  <a:pt x="138" y="489"/>
                </a:lnTo>
                <a:lnTo>
                  <a:pt x="138" y="485"/>
                </a:lnTo>
                <a:lnTo>
                  <a:pt x="138" y="482"/>
                </a:lnTo>
                <a:lnTo>
                  <a:pt x="138" y="476"/>
                </a:lnTo>
                <a:lnTo>
                  <a:pt x="139" y="471"/>
                </a:lnTo>
                <a:lnTo>
                  <a:pt x="139" y="465"/>
                </a:lnTo>
                <a:lnTo>
                  <a:pt x="140" y="460"/>
                </a:lnTo>
                <a:lnTo>
                  <a:pt x="140" y="456"/>
                </a:lnTo>
                <a:lnTo>
                  <a:pt x="141" y="452"/>
                </a:lnTo>
                <a:lnTo>
                  <a:pt x="141" y="449"/>
                </a:lnTo>
                <a:lnTo>
                  <a:pt x="142" y="445"/>
                </a:lnTo>
                <a:lnTo>
                  <a:pt x="142" y="442"/>
                </a:lnTo>
                <a:lnTo>
                  <a:pt x="144" y="437"/>
                </a:lnTo>
                <a:lnTo>
                  <a:pt x="144" y="433"/>
                </a:lnTo>
                <a:lnTo>
                  <a:pt x="145" y="430"/>
                </a:lnTo>
                <a:lnTo>
                  <a:pt x="145" y="425"/>
                </a:lnTo>
                <a:lnTo>
                  <a:pt x="146" y="421"/>
                </a:lnTo>
                <a:lnTo>
                  <a:pt x="147" y="416"/>
                </a:lnTo>
                <a:lnTo>
                  <a:pt x="148" y="413"/>
                </a:lnTo>
                <a:lnTo>
                  <a:pt x="149" y="408"/>
                </a:lnTo>
                <a:lnTo>
                  <a:pt x="151" y="403"/>
                </a:lnTo>
                <a:lnTo>
                  <a:pt x="152" y="398"/>
                </a:lnTo>
                <a:lnTo>
                  <a:pt x="153" y="395"/>
                </a:lnTo>
                <a:lnTo>
                  <a:pt x="154" y="390"/>
                </a:lnTo>
                <a:lnTo>
                  <a:pt x="155" y="385"/>
                </a:lnTo>
                <a:lnTo>
                  <a:pt x="157" y="381"/>
                </a:lnTo>
                <a:lnTo>
                  <a:pt x="158" y="376"/>
                </a:lnTo>
                <a:lnTo>
                  <a:pt x="160" y="371"/>
                </a:lnTo>
                <a:lnTo>
                  <a:pt x="161" y="366"/>
                </a:lnTo>
                <a:lnTo>
                  <a:pt x="164" y="361"/>
                </a:lnTo>
                <a:lnTo>
                  <a:pt x="166" y="357"/>
                </a:lnTo>
                <a:lnTo>
                  <a:pt x="167" y="352"/>
                </a:lnTo>
                <a:lnTo>
                  <a:pt x="170" y="347"/>
                </a:lnTo>
                <a:lnTo>
                  <a:pt x="172" y="341"/>
                </a:lnTo>
                <a:lnTo>
                  <a:pt x="175" y="336"/>
                </a:lnTo>
                <a:lnTo>
                  <a:pt x="177" y="331"/>
                </a:lnTo>
                <a:lnTo>
                  <a:pt x="179" y="327"/>
                </a:lnTo>
                <a:lnTo>
                  <a:pt x="182" y="322"/>
                </a:lnTo>
                <a:lnTo>
                  <a:pt x="185" y="317"/>
                </a:lnTo>
                <a:lnTo>
                  <a:pt x="188" y="312"/>
                </a:lnTo>
                <a:lnTo>
                  <a:pt x="190" y="308"/>
                </a:lnTo>
                <a:lnTo>
                  <a:pt x="193" y="302"/>
                </a:lnTo>
                <a:lnTo>
                  <a:pt x="196" y="298"/>
                </a:lnTo>
                <a:lnTo>
                  <a:pt x="200" y="292"/>
                </a:lnTo>
                <a:lnTo>
                  <a:pt x="202" y="287"/>
                </a:lnTo>
                <a:lnTo>
                  <a:pt x="206" y="284"/>
                </a:lnTo>
                <a:lnTo>
                  <a:pt x="211" y="279"/>
                </a:lnTo>
                <a:lnTo>
                  <a:pt x="214" y="274"/>
                </a:lnTo>
                <a:lnTo>
                  <a:pt x="217" y="269"/>
                </a:lnTo>
                <a:lnTo>
                  <a:pt x="221" y="264"/>
                </a:lnTo>
                <a:lnTo>
                  <a:pt x="226" y="261"/>
                </a:lnTo>
                <a:lnTo>
                  <a:pt x="230" y="256"/>
                </a:lnTo>
                <a:lnTo>
                  <a:pt x="235" y="251"/>
                </a:lnTo>
                <a:lnTo>
                  <a:pt x="238" y="248"/>
                </a:lnTo>
                <a:lnTo>
                  <a:pt x="244" y="244"/>
                </a:lnTo>
                <a:lnTo>
                  <a:pt x="244" y="242"/>
                </a:lnTo>
                <a:lnTo>
                  <a:pt x="248" y="239"/>
                </a:lnTo>
                <a:lnTo>
                  <a:pt x="249" y="237"/>
                </a:lnTo>
                <a:lnTo>
                  <a:pt x="252" y="235"/>
                </a:lnTo>
                <a:lnTo>
                  <a:pt x="255" y="231"/>
                </a:lnTo>
                <a:lnTo>
                  <a:pt x="260" y="227"/>
                </a:lnTo>
                <a:lnTo>
                  <a:pt x="262" y="224"/>
                </a:lnTo>
                <a:lnTo>
                  <a:pt x="268" y="219"/>
                </a:lnTo>
                <a:lnTo>
                  <a:pt x="273" y="215"/>
                </a:lnTo>
                <a:lnTo>
                  <a:pt x="279" y="212"/>
                </a:lnTo>
                <a:lnTo>
                  <a:pt x="281" y="208"/>
                </a:lnTo>
                <a:lnTo>
                  <a:pt x="285" y="206"/>
                </a:lnTo>
                <a:lnTo>
                  <a:pt x="287" y="203"/>
                </a:lnTo>
                <a:lnTo>
                  <a:pt x="292" y="201"/>
                </a:lnTo>
                <a:lnTo>
                  <a:pt x="296" y="199"/>
                </a:lnTo>
                <a:lnTo>
                  <a:pt x="298" y="197"/>
                </a:lnTo>
                <a:lnTo>
                  <a:pt x="303" y="194"/>
                </a:lnTo>
                <a:lnTo>
                  <a:pt x="308" y="193"/>
                </a:lnTo>
                <a:lnTo>
                  <a:pt x="310" y="189"/>
                </a:lnTo>
                <a:lnTo>
                  <a:pt x="315" y="188"/>
                </a:lnTo>
                <a:lnTo>
                  <a:pt x="318" y="184"/>
                </a:lnTo>
                <a:lnTo>
                  <a:pt x="323" y="182"/>
                </a:lnTo>
                <a:lnTo>
                  <a:pt x="328" y="179"/>
                </a:lnTo>
                <a:lnTo>
                  <a:pt x="333" y="177"/>
                </a:lnTo>
                <a:lnTo>
                  <a:pt x="338" y="175"/>
                </a:lnTo>
                <a:lnTo>
                  <a:pt x="342" y="174"/>
                </a:lnTo>
                <a:lnTo>
                  <a:pt x="347" y="170"/>
                </a:lnTo>
                <a:lnTo>
                  <a:pt x="352" y="168"/>
                </a:lnTo>
                <a:lnTo>
                  <a:pt x="358" y="165"/>
                </a:lnTo>
                <a:lnTo>
                  <a:pt x="363" y="164"/>
                </a:lnTo>
                <a:lnTo>
                  <a:pt x="369" y="162"/>
                </a:lnTo>
                <a:lnTo>
                  <a:pt x="375" y="160"/>
                </a:lnTo>
                <a:lnTo>
                  <a:pt x="381" y="158"/>
                </a:lnTo>
                <a:lnTo>
                  <a:pt x="387" y="157"/>
                </a:lnTo>
                <a:lnTo>
                  <a:pt x="393" y="154"/>
                </a:lnTo>
                <a:lnTo>
                  <a:pt x="399" y="152"/>
                </a:lnTo>
                <a:lnTo>
                  <a:pt x="405" y="151"/>
                </a:lnTo>
                <a:lnTo>
                  <a:pt x="412" y="150"/>
                </a:lnTo>
                <a:lnTo>
                  <a:pt x="418" y="147"/>
                </a:lnTo>
                <a:lnTo>
                  <a:pt x="425" y="146"/>
                </a:lnTo>
                <a:lnTo>
                  <a:pt x="431" y="145"/>
                </a:lnTo>
                <a:lnTo>
                  <a:pt x="439" y="144"/>
                </a:lnTo>
                <a:lnTo>
                  <a:pt x="445" y="142"/>
                </a:lnTo>
                <a:lnTo>
                  <a:pt x="453" y="141"/>
                </a:lnTo>
                <a:lnTo>
                  <a:pt x="460" y="140"/>
                </a:lnTo>
                <a:lnTo>
                  <a:pt x="468" y="140"/>
                </a:lnTo>
                <a:lnTo>
                  <a:pt x="475" y="139"/>
                </a:lnTo>
                <a:lnTo>
                  <a:pt x="484" y="139"/>
                </a:lnTo>
                <a:lnTo>
                  <a:pt x="491" y="139"/>
                </a:lnTo>
                <a:lnTo>
                  <a:pt x="500" y="139"/>
                </a:lnTo>
                <a:close/>
              </a:path>
            </a:pathLst>
          </a:custGeom>
          <a:solidFill>
            <a:srgbClr val="EAEAEA"/>
          </a:solidFill>
          <a:ln w="9525">
            <a:noFill/>
            <a:round/>
            <a:headEnd/>
            <a:tailEnd/>
          </a:ln>
        </p:spPr>
        <p:txBody>
          <a:bodyPr/>
          <a:lstStyle/>
          <a:p>
            <a:endParaRPr lang="en-US"/>
          </a:p>
        </p:txBody>
      </p:sp>
      <p:sp>
        <p:nvSpPr>
          <p:cNvPr id="50192" name="Oval 26"/>
          <p:cNvSpPr>
            <a:spLocks noChangeArrowheads="1"/>
          </p:cNvSpPr>
          <p:nvPr/>
        </p:nvSpPr>
        <p:spPr bwMode="gray">
          <a:xfrm>
            <a:off x="1619250" y="3175000"/>
            <a:ext cx="1595438" cy="1571625"/>
          </a:xfrm>
          <a:prstGeom prst="ellipse">
            <a:avLst/>
          </a:prstGeom>
          <a:solidFill>
            <a:srgbClr val="EAEAEA"/>
          </a:solidFill>
          <a:ln w="28575">
            <a:solidFill>
              <a:srgbClr val="DDDDDD"/>
            </a:solidFill>
            <a:round/>
            <a:headEnd/>
            <a:tailEnd/>
          </a:ln>
        </p:spPr>
        <p:txBody>
          <a:bodyPr/>
          <a:lstStyle/>
          <a:p>
            <a:endParaRPr lang="en-US"/>
          </a:p>
        </p:txBody>
      </p:sp>
      <p:sp>
        <p:nvSpPr>
          <p:cNvPr id="50193" name="Oval 27"/>
          <p:cNvSpPr>
            <a:spLocks noChangeArrowheads="1"/>
          </p:cNvSpPr>
          <p:nvPr/>
        </p:nvSpPr>
        <p:spPr bwMode="gray">
          <a:xfrm flipV="1">
            <a:off x="2306638" y="3852863"/>
            <a:ext cx="222250" cy="219075"/>
          </a:xfrm>
          <a:prstGeom prst="ellipse">
            <a:avLst/>
          </a:prstGeom>
          <a:solidFill>
            <a:srgbClr val="DDDDDD"/>
          </a:solidFill>
          <a:ln w="28575">
            <a:solidFill>
              <a:srgbClr val="DDDDDD"/>
            </a:solidFill>
            <a:round/>
            <a:headEnd/>
            <a:tailEnd/>
          </a:ln>
        </p:spPr>
        <p:txBody>
          <a:bodyPr/>
          <a:lstStyle/>
          <a:p>
            <a:endParaRPr lang="en-US"/>
          </a:p>
        </p:txBody>
      </p:sp>
      <p:sp>
        <p:nvSpPr>
          <p:cNvPr id="50194" name="Freeform 30"/>
          <p:cNvSpPr>
            <a:spLocks noChangeAspect="1"/>
          </p:cNvSpPr>
          <p:nvPr/>
        </p:nvSpPr>
        <p:spPr bwMode="gray">
          <a:xfrm>
            <a:off x="4310063" y="4875213"/>
            <a:ext cx="1066800" cy="1944687"/>
          </a:xfrm>
          <a:custGeom>
            <a:avLst/>
            <a:gdLst>
              <a:gd name="T0" fmla="*/ 2147483647 w 528"/>
              <a:gd name="T1" fmla="*/ 2147483647 h 991"/>
              <a:gd name="T2" fmla="*/ 2147483647 w 528"/>
              <a:gd name="T3" fmla="*/ 2147483647 h 991"/>
              <a:gd name="T4" fmla="*/ 2147483647 w 528"/>
              <a:gd name="T5" fmla="*/ 2147483647 h 991"/>
              <a:gd name="T6" fmla="*/ 2147483647 w 528"/>
              <a:gd name="T7" fmla="*/ 2147483647 h 991"/>
              <a:gd name="T8" fmla="*/ 2147483647 w 528"/>
              <a:gd name="T9" fmla="*/ 2147483647 h 991"/>
              <a:gd name="T10" fmla="*/ 2147483647 w 528"/>
              <a:gd name="T11" fmla="*/ 2147483647 h 991"/>
              <a:gd name="T12" fmla="*/ 2147483647 w 528"/>
              <a:gd name="T13" fmla="*/ 2147483647 h 991"/>
              <a:gd name="T14" fmla="*/ 2147483647 w 528"/>
              <a:gd name="T15" fmla="*/ 2147483647 h 991"/>
              <a:gd name="T16" fmla="*/ 2147483647 w 528"/>
              <a:gd name="T17" fmla="*/ 2147483647 h 991"/>
              <a:gd name="T18" fmla="*/ 2147483647 w 528"/>
              <a:gd name="T19" fmla="*/ 2147483647 h 991"/>
              <a:gd name="T20" fmla="*/ 2147483647 w 528"/>
              <a:gd name="T21" fmla="*/ 2147483647 h 991"/>
              <a:gd name="T22" fmla="*/ 2147483647 w 528"/>
              <a:gd name="T23" fmla="*/ 2147483647 h 991"/>
              <a:gd name="T24" fmla="*/ 2147483647 w 528"/>
              <a:gd name="T25" fmla="*/ 2147483647 h 991"/>
              <a:gd name="T26" fmla="*/ 2147483647 w 528"/>
              <a:gd name="T27" fmla="*/ 2147483647 h 991"/>
              <a:gd name="T28" fmla="*/ 2147483647 w 528"/>
              <a:gd name="T29" fmla="*/ 2147483647 h 991"/>
              <a:gd name="T30" fmla="*/ 2147483647 w 528"/>
              <a:gd name="T31" fmla="*/ 2147483647 h 991"/>
              <a:gd name="T32" fmla="*/ 2147483647 w 528"/>
              <a:gd name="T33" fmla="*/ 2147483647 h 991"/>
              <a:gd name="T34" fmla="*/ 2147483647 w 528"/>
              <a:gd name="T35" fmla="*/ 2147483647 h 991"/>
              <a:gd name="T36" fmla="*/ 2147483647 w 528"/>
              <a:gd name="T37" fmla="*/ 2147483647 h 991"/>
              <a:gd name="T38" fmla="*/ 2147483647 w 528"/>
              <a:gd name="T39" fmla="*/ 2147483647 h 991"/>
              <a:gd name="T40" fmla="*/ 2147483647 w 528"/>
              <a:gd name="T41" fmla="*/ 2147483647 h 991"/>
              <a:gd name="T42" fmla="*/ 2147483647 w 528"/>
              <a:gd name="T43" fmla="*/ 2147483647 h 991"/>
              <a:gd name="T44" fmla="*/ 2147483647 w 528"/>
              <a:gd name="T45" fmla="*/ 2147483647 h 991"/>
              <a:gd name="T46" fmla="*/ 2147483647 w 528"/>
              <a:gd name="T47" fmla="*/ 2147483647 h 991"/>
              <a:gd name="T48" fmla="*/ 2147483647 w 528"/>
              <a:gd name="T49" fmla="*/ 2147483647 h 991"/>
              <a:gd name="T50" fmla="*/ 2147483647 w 528"/>
              <a:gd name="T51" fmla="*/ 2147483647 h 991"/>
              <a:gd name="T52" fmla="*/ 2147483647 w 528"/>
              <a:gd name="T53" fmla="*/ 2147483647 h 991"/>
              <a:gd name="T54" fmla="*/ 2147483647 w 528"/>
              <a:gd name="T55" fmla="*/ 2147483647 h 991"/>
              <a:gd name="T56" fmla="*/ 2147483647 w 528"/>
              <a:gd name="T57" fmla="*/ 2147483647 h 991"/>
              <a:gd name="T58" fmla="*/ 2147483647 w 528"/>
              <a:gd name="T59" fmla="*/ 2147483647 h 991"/>
              <a:gd name="T60" fmla="*/ 2147483647 w 528"/>
              <a:gd name="T61" fmla="*/ 2147483647 h 991"/>
              <a:gd name="T62" fmla="*/ 2147483647 w 528"/>
              <a:gd name="T63" fmla="*/ 2147483647 h 991"/>
              <a:gd name="T64" fmla="*/ 2147483647 w 528"/>
              <a:gd name="T65" fmla="*/ 2147483647 h 991"/>
              <a:gd name="T66" fmla="*/ 2147483647 w 528"/>
              <a:gd name="T67" fmla="*/ 2147483647 h 991"/>
              <a:gd name="T68" fmla="*/ 2147483647 w 528"/>
              <a:gd name="T69" fmla="*/ 2147483647 h 991"/>
              <a:gd name="T70" fmla="*/ 2147483647 w 528"/>
              <a:gd name="T71" fmla="*/ 2147483647 h 991"/>
              <a:gd name="T72" fmla="*/ 2147483647 w 528"/>
              <a:gd name="T73" fmla="*/ 2147483647 h 991"/>
              <a:gd name="T74" fmla="*/ 2147483647 w 528"/>
              <a:gd name="T75" fmla="*/ 2147483647 h 991"/>
              <a:gd name="T76" fmla="*/ 2147483647 w 528"/>
              <a:gd name="T77" fmla="*/ 2147483647 h 991"/>
              <a:gd name="T78" fmla="*/ 2147483647 w 528"/>
              <a:gd name="T79" fmla="*/ 2147483647 h 991"/>
              <a:gd name="T80" fmla="*/ 2147483647 w 528"/>
              <a:gd name="T81" fmla="*/ 2147483647 h 991"/>
              <a:gd name="T82" fmla="*/ 2147483647 w 528"/>
              <a:gd name="T83" fmla="*/ 2147483647 h 991"/>
              <a:gd name="T84" fmla="*/ 2147483647 w 528"/>
              <a:gd name="T85" fmla="*/ 2147483647 h 991"/>
              <a:gd name="T86" fmla="*/ 2147483647 w 528"/>
              <a:gd name="T87" fmla="*/ 2147483647 h 991"/>
              <a:gd name="T88" fmla="*/ 2147483647 w 528"/>
              <a:gd name="T89" fmla="*/ 2147483647 h 991"/>
              <a:gd name="T90" fmla="*/ 2147483647 w 528"/>
              <a:gd name="T91" fmla="*/ 2147483647 h 991"/>
              <a:gd name="T92" fmla="*/ 2147483647 w 528"/>
              <a:gd name="T93" fmla="*/ 2147483647 h 991"/>
              <a:gd name="T94" fmla="*/ 2147483647 w 528"/>
              <a:gd name="T95" fmla="*/ 2147483647 h 991"/>
              <a:gd name="T96" fmla="*/ 2147483647 w 528"/>
              <a:gd name="T97" fmla="*/ 2147483647 h 991"/>
              <a:gd name="T98" fmla="*/ 2147483647 w 528"/>
              <a:gd name="T99" fmla="*/ 2147483647 h 991"/>
              <a:gd name="T100" fmla="*/ 2147483647 w 528"/>
              <a:gd name="T101" fmla="*/ 2147483647 h 991"/>
              <a:gd name="T102" fmla="*/ 2147483647 w 528"/>
              <a:gd name="T103" fmla="*/ 2147483647 h 991"/>
              <a:gd name="T104" fmla="*/ 2147483647 w 528"/>
              <a:gd name="T105" fmla="*/ 2147483647 h 991"/>
              <a:gd name="T106" fmla="*/ 2147483647 w 528"/>
              <a:gd name="T107" fmla="*/ 2147483647 h 991"/>
              <a:gd name="T108" fmla="*/ 2147483647 w 528"/>
              <a:gd name="T109" fmla="*/ 2147483647 h 991"/>
              <a:gd name="T110" fmla="*/ 2147483647 w 528"/>
              <a:gd name="T111" fmla="*/ 2147483647 h 99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8"/>
              <a:gd name="T169" fmla="*/ 0 h 991"/>
              <a:gd name="T170" fmla="*/ 528 w 528"/>
              <a:gd name="T171" fmla="*/ 991 h 99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8" h="991">
                <a:moveTo>
                  <a:pt x="32" y="852"/>
                </a:moveTo>
                <a:lnTo>
                  <a:pt x="35" y="991"/>
                </a:lnTo>
                <a:lnTo>
                  <a:pt x="79" y="990"/>
                </a:lnTo>
                <a:lnTo>
                  <a:pt x="97" y="929"/>
                </a:lnTo>
                <a:lnTo>
                  <a:pt x="189" y="902"/>
                </a:lnTo>
                <a:lnTo>
                  <a:pt x="250" y="944"/>
                </a:lnTo>
                <a:lnTo>
                  <a:pt x="318" y="904"/>
                </a:lnTo>
                <a:lnTo>
                  <a:pt x="315" y="833"/>
                </a:lnTo>
                <a:lnTo>
                  <a:pt x="365" y="780"/>
                </a:lnTo>
                <a:lnTo>
                  <a:pt x="434" y="790"/>
                </a:lnTo>
                <a:lnTo>
                  <a:pt x="482" y="715"/>
                </a:lnTo>
                <a:lnTo>
                  <a:pt x="441" y="656"/>
                </a:lnTo>
                <a:lnTo>
                  <a:pt x="468" y="560"/>
                </a:lnTo>
                <a:lnTo>
                  <a:pt x="528" y="551"/>
                </a:lnTo>
                <a:lnTo>
                  <a:pt x="528" y="547"/>
                </a:lnTo>
                <a:lnTo>
                  <a:pt x="528" y="543"/>
                </a:lnTo>
                <a:lnTo>
                  <a:pt x="528" y="541"/>
                </a:lnTo>
                <a:lnTo>
                  <a:pt x="528" y="537"/>
                </a:lnTo>
                <a:lnTo>
                  <a:pt x="528" y="534"/>
                </a:lnTo>
                <a:lnTo>
                  <a:pt x="528" y="530"/>
                </a:lnTo>
                <a:lnTo>
                  <a:pt x="528" y="528"/>
                </a:lnTo>
                <a:lnTo>
                  <a:pt x="528" y="526"/>
                </a:lnTo>
                <a:lnTo>
                  <a:pt x="528" y="522"/>
                </a:lnTo>
                <a:lnTo>
                  <a:pt x="528" y="518"/>
                </a:lnTo>
                <a:lnTo>
                  <a:pt x="528" y="516"/>
                </a:lnTo>
                <a:lnTo>
                  <a:pt x="528" y="512"/>
                </a:lnTo>
                <a:lnTo>
                  <a:pt x="528" y="506"/>
                </a:lnTo>
                <a:lnTo>
                  <a:pt x="528" y="500"/>
                </a:lnTo>
                <a:lnTo>
                  <a:pt x="528" y="497"/>
                </a:lnTo>
                <a:lnTo>
                  <a:pt x="528" y="493"/>
                </a:lnTo>
                <a:lnTo>
                  <a:pt x="528" y="491"/>
                </a:lnTo>
                <a:lnTo>
                  <a:pt x="528" y="488"/>
                </a:lnTo>
                <a:lnTo>
                  <a:pt x="528" y="485"/>
                </a:lnTo>
                <a:lnTo>
                  <a:pt x="528" y="481"/>
                </a:lnTo>
                <a:lnTo>
                  <a:pt x="528" y="479"/>
                </a:lnTo>
                <a:lnTo>
                  <a:pt x="528" y="475"/>
                </a:lnTo>
                <a:lnTo>
                  <a:pt x="528" y="469"/>
                </a:lnTo>
                <a:lnTo>
                  <a:pt x="528" y="463"/>
                </a:lnTo>
                <a:lnTo>
                  <a:pt x="528" y="457"/>
                </a:lnTo>
                <a:lnTo>
                  <a:pt x="528" y="451"/>
                </a:lnTo>
                <a:lnTo>
                  <a:pt x="467" y="433"/>
                </a:lnTo>
                <a:lnTo>
                  <a:pt x="441" y="341"/>
                </a:lnTo>
                <a:lnTo>
                  <a:pt x="483" y="280"/>
                </a:lnTo>
                <a:lnTo>
                  <a:pt x="443" y="212"/>
                </a:lnTo>
                <a:lnTo>
                  <a:pt x="373" y="216"/>
                </a:lnTo>
                <a:lnTo>
                  <a:pt x="320" y="165"/>
                </a:lnTo>
                <a:lnTo>
                  <a:pt x="328" y="96"/>
                </a:lnTo>
                <a:lnTo>
                  <a:pt x="253" y="48"/>
                </a:lnTo>
                <a:lnTo>
                  <a:pt x="195" y="90"/>
                </a:lnTo>
                <a:lnTo>
                  <a:pt x="98" y="62"/>
                </a:lnTo>
                <a:lnTo>
                  <a:pt x="89" y="3"/>
                </a:lnTo>
                <a:lnTo>
                  <a:pt x="31" y="0"/>
                </a:lnTo>
                <a:lnTo>
                  <a:pt x="0" y="64"/>
                </a:lnTo>
                <a:lnTo>
                  <a:pt x="34" y="138"/>
                </a:lnTo>
                <a:lnTo>
                  <a:pt x="35" y="138"/>
                </a:lnTo>
                <a:lnTo>
                  <a:pt x="37" y="138"/>
                </a:lnTo>
                <a:lnTo>
                  <a:pt x="40" y="138"/>
                </a:lnTo>
                <a:lnTo>
                  <a:pt x="43" y="138"/>
                </a:lnTo>
                <a:lnTo>
                  <a:pt x="48" y="138"/>
                </a:lnTo>
                <a:lnTo>
                  <a:pt x="53" y="138"/>
                </a:lnTo>
                <a:lnTo>
                  <a:pt x="59" y="139"/>
                </a:lnTo>
                <a:lnTo>
                  <a:pt x="62" y="139"/>
                </a:lnTo>
                <a:lnTo>
                  <a:pt x="65" y="139"/>
                </a:lnTo>
                <a:lnTo>
                  <a:pt x="68" y="139"/>
                </a:lnTo>
                <a:lnTo>
                  <a:pt x="72" y="140"/>
                </a:lnTo>
                <a:lnTo>
                  <a:pt x="76" y="140"/>
                </a:lnTo>
                <a:lnTo>
                  <a:pt x="79" y="141"/>
                </a:lnTo>
                <a:lnTo>
                  <a:pt x="84" y="141"/>
                </a:lnTo>
                <a:lnTo>
                  <a:pt x="88" y="143"/>
                </a:lnTo>
                <a:lnTo>
                  <a:pt x="91" y="143"/>
                </a:lnTo>
                <a:lnTo>
                  <a:pt x="96" y="144"/>
                </a:lnTo>
                <a:lnTo>
                  <a:pt x="100" y="145"/>
                </a:lnTo>
                <a:lnTo>
                  <a:pt x="106" y="146"/>
                </a:lnTo>
                <a:lnTo>
                  <a:pt x="109" y="147"/>
                </a:lnTo>
                <a:lnTo>
                  <a:pt x="114" y="149"/>
                </a:lnTo>
                <a:lnTo>
                  <a:pt x="119" y="150"/>
                </a:lnTo>
                <a:lnTo>
                  <a:pt x="123" y="151"/>
                </a:lnTo>
                <a:lnTo>
                  <a:pt x="128" y="151"/>
                </a:lnTo>
                <a:lnTo>
                  <a:pt x="133" y="152"/>
                </a:lnTo>
                <a:lnTo>
                  <a:pt x="138" y="155"/>
                </a:lnTo>
                <a:lnTo>
                  <a:pt x="144" y="156"/>
                </a:lnTo>
                <a:lnTo>
                  <a:pt x="149" y="157"/>
                </a:lnTo>
                <a:lnTo>
                  <a:pt x="153" y="159"/>
                </a:lnTo>
                <a:lnTo>
                  <a:pt x="158" y="161"/>
                </a:lnTo>
                <a:lnTo>
                  <a:pt x="164" y="163"/>
                </a:lnTo>
                <a:lnTo>
                  <a:pt x="169" y="164"/>
                </a:lnTo>
                <a:lnTo>
                  <a:pt x="174" y="167"/>
                </a:lnTo>
                <a:lnTo>
                  <a:pt x="180" y="169"/>
                </a:lnTo>
                <a:lnTo>
                  <a:pt x="185" y="171"/>
                </a:lnTo>
                <a:lnTo>
                  <a:pt x="189" y="174"/>
                </a:lnTo>
                <a:lnTo>
                  <a:pt x="195" y="176"/>
                </a:lnTo>
                <a:lnTo>
                  <a:pt x="200" y="178"/>
                </a:lnTo>
                <a:lnTo>
                  <a:pt x="206" y="182"/>
                </a:lnTo>
                <a:lnTo>
                  <a:pt x="211" y="184"/>
                </a:lnTo>
                <a:lnTo>
                  <a:pt x="217" y="188"/>
                </a:lnTo>
                <a:lnTo>
                  <a:pt x="222" y="190"/>
                </a:lnTo>
                <a:lnTo>
                  <a:pt x="226" y="194"/>
                </a:lnTo>
                <a:lnTo>
                  <a:pt x="231" y="198"/>
                </a:lnTo>
                <a:lnTo>
                  <a:pt x="237" y="200"/>
                </a:lnTo>
                <a:lnTo>
                  <a:pt x="242" y="205"/>
                </a:lnTo>
                <a:lnTo>
                  <a:pt x="247" y="208"/>
                </a:lnTo>
                <a:lnTo>
                  <a:pt x="252" y="212"/>
                </a:lnTo>
                <a:lnTo>
                  <a:pt x="256" y="216"/>
                </a:lnTo>
                <a:lnTo>
                  <a:pt x="261" y="220"/>
                </a:lnTo>
                <a:lnTo>
                  <a:pt x="266" y="225"/>
                </a:lnTo>
                <a:lnTo>
                  <a:pt x="271" y="229"/>
                </a:lnTo>
                <a:lnTo>
                  <a:pt x="276" y="234"/>
                </a:lnTo>
                <a:lnTo>
                  <a:pt x="280" y="238"/>
                </a:lnTo>
                <a:lnTo>
                  <a:pt x="285" y="244"/>
                </a:lnTo>
                <a:lnTo>
                  <a:pt x="289" y="248"/>
                </a:lnTo>
                <a:lnTo>
                  <a:pt x="292" y="250"/>
                </a:lnTo>
                <a:lnTo>
                  <a:pt x="297" y="254"/>
                </a:lnTo>
                <a:lnTo>
                  <a:pt x="301" y="259"/>
                </a:lnTo>
                <a:lnTo>
                  <a:pt x="304" y="261"/>
                </a:lnTo>
                <a:lnTo>
                  <a:pt x="308" y="266"/>
                </a:lnTo>
                <a:lnTo>
                  <a:pt x="312" y="269"/>
                </a:lnTo>
                <a:lnTo>
                  <a:pt x="315" y="273"/>
                </a:lnTo>
                <a:lnTo>
                  <a:pt x="318" y="277"/>
                </a:lnTo>
                <a:lnTo>
                  <a:pt x="320" y="281"/>
                </a:lnTo>
                <a:lnTo>
                  <a:pt x="323" y="285"/>
                </a:lnTo>
                <a:lnTo>
                  <a:pt x="327" y="289"/>
                </a:lnTo>
                <a:lnTo>
                  <a:pt x="329" y="293"/>
                </a:lnTo>
                <a:lnTo>
                  <a:pt x="332" y="297"/>
                </a:lnTo>
                <a:lnTo>
                  <a:pt x="335" y="301"/>
                </a:lnTo>
                <a:lnTo>
                  <a:pt x="338" y="305"/>
                </a:lnTo>
                <a:lnTo>
                  <a:pt x="340" y="309"/>
                </a:lnTo>
                <a:lnTo>
                  <a:pt x="343" y="314"/>
                </a:lnTo>
                <a:lnTo>
                  <a:pt x="345" y="317"/>
                </a:lnTo>
                <a:lnTo>
                  <a:pt x="347" y="322"/>
                </a:lnTo>
                <a:lnTo>
                  <a:pt x="349" y="326"/>
                </a:lnTo>
                <a:lnTo>
                  <a:pt x="351" y="330"/>
                </a:lnTo>
                <a:lnTo>
                  <a:pt x="353" y="334"/>
                </a:lnTo>
                <a:lnTo>
                  <a:pt x="356" y="339"/>
                </a:lnTo>
                <a:lnTo>
                  <a:pt x="358" y="344"/>
                </a:lnTo>
                <a:lnTo>
                  <a:pt x="359" y="347"/>
                </a:lnTo>
                <a:lnTo>
                  <a:pt x="362" y="352"/>
                </a:lnTo>
                <a:lnTo>
                  <a:pt x="363" y="357"/>
                </a:lnTo>
                <a:lnTo>
                  <a:pt x="365" y="360"/>
                </a:lnTo>
                <a:lnTo>
                  <a:pt x="367" y="365"/>
                </a:lnTo>
                <a:lnTo>
                  <a:pt x="369" y="370"/>
                </a:lnTo>
                <a:lnTo>
                  <a:pt x="370" y="374"/>
                </a:lnTo>
                <a:lnTo>
                  <a:pt x="371" y="378"/>
                </a:lnTo>
                <a:lnTo>
                  <a:pt x="373" y="382"/>
                </a:lnTo>
                <a:lnTo>
                  <a:pt x="374" y="386"/>
                </a:lnTo>
                <a:lnTo>
                  <a:pt x="375" y="390"/>
                </a:lnTo>
                <a:lnTo>
                  <a:pt x="376" y="395"/>
                </a:lnTo>
                <a:lnTo>
                  <a:pt x="377" y="399"/>
                </a:lnTo>
                <a:lnTo>
                  <a:pt x="379" y="403"/>
                </a:lnTo>
                <a:lnTo>
                  <a:pt x="380" y="408"/>
                </a:lnTo>
                <a:lnTo>
                  <a:pt x="381" y="412"/>
                </a:lnTo>
                <a:lnTo>
                  <a:pt x="382" y="415"/>
                </a:lnTo>
                <a:lnTo>
                  <a:pt x="382" y="420"/>
                </a:lnTo>
                <a:lnTo>
                  <a:pt x="383" y="424"/>
                </a:lnTo>
                <a:lnTo>
                  <a:pt x="385" y="429"/>
                </a:lnTo>
                <a:lnTo>
                  <a:pt x="386" y="432"/>
                </a:lnTo>
                <a:lnTo>
                  <a:pt x="386" y="436"/>
                </a:lnTo>
                <a:lnTo>
                  <a:pt x="387" y="441"/>
                </a:lnTo>
                <a:lnTo>
                  <a:pt x="387" y="444"/>
                </a:lnTo>
                <a:lnTo>
                  <a:pt x="387" y="448"/>
                </a:lnTo>
                <a:lnTo>
                  <a:pt x="388" y="451"/>
                </a:lnTo>
                <a:lnTo>
                  <a:pt x="388" y="456"/>
                </a:lnTo>
                <a:lnTo>
                  <a:pt x="389" y="459"/>
                </a:lnTo>
                <a:lnTo>
                  <a:pt x="389" y="463"/>
                </a:lnTo>
                <a:lnTo>
                  <a:pt x="391" y="467"/>
                </a:lnTo>
                <a:lnTo>
                  <a:pt x="391" y="470"/>
                </a:lnTo>
                <a:lnTo>
                  <a:pt x="391" y="474"/>
                </a:lnTo>
                <a:lnTo>
                  <a:pt x="392" y="478"/>
                </a:lnTo>
                <a:lnTo>
                  <a:pt x="392" y="481"/>
                </a:lnTo>
                <a:lnTo>
                  <a:pt x="392" y="485"/>
                </a:lnTo>
                <a:lnTo>
                  <a:pt x="392" y="488"/>
                </a:lnTo>
                <a:lnTo>
                  <a:pt x="393" y="492"/>
                </a:lnTo>
                <a:lnTo>
                  <a:pt x="393" y="496"/>
                </a:lnTo>
                <a:lnTo>
                  <a:pt x="394" y="499"/>
                </a:lnTo>
                <a:lnTo>
                  <a:pt x="393" y="500"/>
                </a:lnTo>
                <a:lnTo>
                  <a:pt x="393" y="504"/>
                </a:lnTo>
                <a:lnTo>
                  <a:pt x="393" y="508"/>
                </a:lnTo>
                <a:lnTo>
                  <a:pt x="393" y="512"/>
                </a:lnTo>
                <a:lnTo>
                  <a:pt x="392" y="517"/>
                </a:lnTo>
                <a:lnTo>
                  <a:pt x="391" y="523"/>
                </a:lnTo>
                <a:lnTo>
                  <a:pt x="391" y="526"/>
                </a:lnTo>
                <a:lnTo>
                  <a:pt x="391" y="529"/>
                </a:lnTo>
                <a:lnTo>
                  <a:pt x="389" y="532"/>
                </a:lnTo>
                <a:lnTo>
                  <a:pt x="389" y="535"/>
                </a:lnTo>
                <a:lnTo>
                  <a:pt x="388" y="539"/>
                </a:lnTo>
                <a:lnTo>
                  <a:pt x="388" y="542"/>
                </a:lnTo>
                <a:lnTo>
                  <a:pt x="387" y="545"/>
                </a:lnTo>
                <a:lnTo>
                  <a:pt x="387" y="549"/>
                </a:lnTo>
                <a:lnTo>
                  <a:pt x="386" y="553"/>
                </a:lnTo>
                <a:lnTo>
                  <a:pt x="386" y="557"/>
                </a:lnTo>
                <a:lnTo>
                  <a:pt x="385" y="560"/>
                </a:lnTo>
                <a:lnTo>
                  <a:pt x="385" y="565"/>
                </a:lnTo>
                <a:lnTo>
                  <a:pt x="383" y="569"/>
                </a:lnTo>
                <a:lnTo>
                  <a:pt x="382" y="573"/>
                </a:lnTo>
                <a:lnTo>
                  <a:pt x="381" y="577"/>
                </a:lnTo>
                <a:lnTo>
                  <a:pt x="380" y="582"/>
                </a:lnTo>
                <a:lnTo>
                  <a:pt x="379" y="585"/>
                </a:lnTo>
                <a:lnTo>
                  <a:pt x="377" y="590"/>
                </a:lnTo>
                <a:lnTo>
                  <a:pt x="376" y="595"/>
                </a:lnTo>
                <a:lnTo>
                  <a:pt x="375" y="600"/>
                </a:lnTo>
                <a:lnTo>
                  <a:pt x="374" y="603"/>
                </a:lnTo>
                <a:lnTo>
                  <a:pt x="373" y="608"/>
                </a:lnTo>
                <a:lnTo>
                  <a:pt x="370" y="613"/>
                </a:lnTo>
                <a:lnTo>
                  <a:pt x="369" y="618"/>
                </a:lnTo>
                <a:lnTo>
                  <a:pt x="367" y="622"/>
                </a:lnTo>
                <a:lnTo>
                  <a:pt x="365" y="627"/>
                </a:lnTo>
                <a:lnTo>
                  <a:pt x="363" y="631"/>
                </a:lnTo>
                <a:lnTo>
                  <a:pt x="362" y="637"/>
                </a:lnTo>
                <a:lnTo>
                  <a:pt x="359" y="642"/>
                </a:lnTo>
                <a:lnTo>
                  <a:pt x="357" y="645"/>
                </a:lnTo>
                <a:lnTo>
                  <a:pt x="355" y="650"/>
                </a:lnTo>
                <a:lnTo>
                  <a:pt x="353" y="655"/>
                </a:lnTo>
                <a:lnTo>
                  <a:pt x="351" y="660"/>
                </a:lnTo>
                <a:lnTo>
                  <a:pt x="349" y="664"/>
                </a:lnTo>
                <a:lnTo>
                  <a:pt x="346" y="669"/>
                </a:lnTo>
                <a:lnTo>
                  <a:pt x="344" y="675"/>
                </a:lnTo>
                <a:lnTo>
                  <a:pt x="340" y="679"/>
                </a:lnTo>
                <a:lnTo>
                  <a:pt x="338" y="683"/>
                </a:lnTo>
                <a:lnTo>
                  <a:pt x="334" y="688"/>
                </a:lnTo>
                <a:lnTo>
                  <a:pt x="332" y="693"/>
                </a:lnTo>
                <a:lnTo>
                  <a:pt x="328" y="698"/>
                </a:lnTo>
                <a:lnTo>
                  <a:pt x="325" y="703"/>
                </a:lnTo>
                <a:lnTo>
                  <a:pt x="321" y="706"/>
                </a:lnTo>
                <a:lnTo>
                  <a:pt x="319" y="712"/>
                </a:lnTo>
                <a:lnTo>
                  <a:pt x="315" y="716"/>
                </a:lnTo>
                <a:lnTo>
                  <a:pt x="312" y="721"/>
                </a:lnTo>
                <a:lnTo>
                  <a:pt x="307" y="725"/>
                </a:lnTo>
                <a:lnTo>
                  <a:pt x="303" y="729"/>
                </a:lnTo>
                <a:lnTo>
                  <a:pt x="300" y="734"/>
                </a:lnTo>
                <a:lnTo>
                  <a:pt x="295" y="739"/>
                </a:lnTo>
                <a:lnTo>
                  <a:pt x="291" y="742"/>
                </a:lnTo>
                <a:lnTo>
                  <a:pt x="288" y="747"/>
                </a:lnTo>
                <a:lnTo>
                  <a:pt x="285" y="747"/>
                </a:lnTo>
                <a:lnTo>
                  <a:pt x="283" y="751"/>
                </a:lnTo>
                <a:lnTo>
                  <a:pt x="280" y="752"/>
                </a:lnTo>
                <a:lnTo>
                  <a:pt x="278" y="755"/>
                </a:lnTo>
                <a:lnTo>
                  <a:pt x="274" y="759"/>
                </a:lnTo>
                <a:lnTo>
                  <a:pt x="271" y="762"/>
                </a:lnTo>
                <a:lnTo>
                  <a:pt x="266" y="765"/>
                </a:lnTo>
                <a:lnTo>
                  <a:pt x="261" y="770"/>
                </a:lnTo>
                <a:lnTo>
                  <a:pt x="255" y="773"/>
                </a:lnTo>
                <a:lnTo>
                  <a:pt x="250" y="778"/>
                </a:lnTo>
                <a:lnTo>
                  <a:pt x="247" y="780"/>
                </a:lnTo>
                <a:lnTo>
                  <a:pt x="243" y="783"/>
                </a:lnTo>
                <a:lnTo>
                  <a:pt x="241" y="785"/>
                </a:lnTo>
                <a:lnTo>
                  <a:pt x="237" y="788"/>
                </a:lnTo>
                <a:lnTo>
                  <a:pt x="234" y="790"/>
                </a:lnTo>
                <a:lnTo>
                  <a:pt x="230" y="792"/>
                </a:lnTo>
                <a:lnTo>
                  <a:pt x="226" y="795"/>
                </a:lnTo>
                <a:lnTo>
                  <a:pt x="223" y="798"/>
                </a:lnTo>
                <a:lnTo>
                  <a:pt x="218" y="800"/>
                </a:lnTo>
                <a:lnTo>
                  <a:pt x="214" y="802"/>
                </a:lnTo>
                <a:lnTo>
                  <a:pt x="210" y="804"/>
                </a:lnTo>
                <a:lnTo>
                  <a:pt x="206" y="807"/>
                </a:lnTo>
                <a:lnTo>
                  <a:pt x="201" y="809"/>
                </a:lnTo>
                <a:lnTo>
                  <a:pt x="197" y="812"/>
                </a:lnTo>
                <a:lnTo>
                  <a:pt x="192" y="814"/>
                </a:lnTo>
                <a:lnTo>
                  <a:pt x="187" y="816"/>
                </a:lnTo>
                <a:lnTo>
                  <a:pt x="182" y="819"/>
                </a:lnTo>
                <a:lnTo>
                  <a:pt x="176" y="821"/>
                </a:lnTo>
                <a:lnTo>
                  <a:pt x="171" y="823"/>
                </a:lnTo>
                <a:lnTo>
                  <a:pt x="167" y="825"/>
                </a:lnTo>
                <a:lnTo>
                  <a:pt x="161" y="827"/>
                </a:lnTo>
                <a:lnTo>
                  <a:pt x="155" y="829"/>
                </a:lnTo>
                <a:lnTo>
                  <a:pt x="149" y="832"/>
                </a:lnTo>
                <a:lnTo>
                  <a:pt x="144" y="834"/>
                </a:lnTo>
                <a:lnTo>
                  <a:pt x="137" y="835"/>
                </a:lnTo>
                <a:lnTo>
                  <a:pt x="131" y="838"/>
                </a:lnTo>
                <a:lnTo>
                  <a:pt x="125" y="839"/>
                </a:lnTo>
                <a:lnTo>
                  <a:pt x="119" y="840"/>
                </a:lnTo>
                <a:lnTo>
                  <a:pt x="111" y="841"/>
                </a:lnTo>
                <a:lnTo>
                  <a:pt x="104" y="844"/>
                </a:lnTo>
                <a:lnTo>
                  <a:pt x="98" y="845"/>
                </a:lnTo>
                <a:lnTo>
                  <a:pt x="91" y="846"/>
                </a:lnTo>
                <a:lnTo>
                  <a:pt x="84" y="847"/>
                </a:lnTo>
                <a:lnTo>
                  <a:pt x="77" y="849"/>
                </a:lnTo>
                <a:lnTo>
                  <a:pt x="70" y="850"/>
                </a:lnTo>
                <a:lnTo>
                  <a:pt x="62" y="850"/>
                </a:lnTo>
                <a:lnTo>
                  <a:pt x="54" y="851"/>
                </a:lnTo>
                <a:lnTo>
                  <a:pt x="47" y="851"/>
                </a:lnTo>
                <a:lnTo>
                  <a:pt x="40" y="852"/>
                </a:lnTo>
                <a:lnTo>
                  <a:pt x="32" y="852"/>
                </a:lnTo>
                <a:close/>
              </a:path>
            </a:pathLst>
          </a:custGeom>
          <a:solidFill>
            <a:srgbClr val="EAEAEA"/>
          </a:solidFill>
          <a:ln w="9525">
            <a:noFill/>
            <a:round/>
            <a:headEnd/>
            <a:tailEnd/>
          </a:ln>
        </p:spPr>
        <p:txBody>
          <a:bodyPr/>
          <a:lstStyle/>
          <a:p>
            <a:endParaRPr lang="en-US"/>
          </a:p>
        </p:txBody>
      </p:sp>
      <p:sp>
        <p:nvSpPr>
          <p:cNvPr id="50195" name="Freeform 31"/>
          <p:cNvSpPr>
            <a:spLocks noChangeAspect="1"/>
          </p:cNvSpPr>
          <p:nvPr/>
        </p:nvSpPr>
        <p:spPr bwMode="gray">
          <a:xfrm>
            <a:off x="3381375" y="4875213"/>
            <a:ext cx="1052513" cy="1949450"/>
          </a:xfrm>
          <a:custGeom>
            <a:avLst/>
            <a:gdLst>
              <a:gd name="T0" fmla="*/ 2147483647 w 523"/>
              <a:gd name="T1" fmla="*/ 2147483647 h 992"/>
              <a:gd name="T2" fmla="*/ 2147483647 w 523"/>
              <a:gd name="T3" fmla="*/ 2147483647 h 992"/>
              <a:gd name="T4" fmla="*/ 2147483647 w 523"/>
              <a:gd name="T5" fmla="*/ 2147483647 h 992"/>
              <a:gd name="T6" fmla="*/ 0 w 523"/>
              <a:gd name="T7" fmla="*/ 2147483647 h 992"/>
              <a:gd name="T8" fmla="*/ 0 w 523"/>
              <a:gd name="T9" fmla="*/ 2147483647 h 992"/>
              <a:gd name="T10" fmla="*/ 0 w 523"/>
              <a:gd name="T11" fmla="*/ 2147483647 h 992"/>
              <a:gd name="T12" fmla="*/ 0 w 523"/>
              <a:gd name="T13" fmla="*/ 2147483647 h 992"/>
              <a:gd name="T14" fmla="*/ 2147483647 w 523"/>
              <a:gd name="T15" fmla="*/ 2147483647 h 992"/>
              <a:gd name="T16" fmla="*/ 2147483647 w 523"/>
              <a:gd name="T17" fmla="*/ 2147483647 h 992"/>
              <a:gd name="T18" fmla="*/ 2147483647 w 523"/>
              <a:gd name="T19" fmla="*/ 2147483647 h 992"/>
              <a:gd name="T20" fmla="*/ 2147483647 w 523"/>
              <a:gd name="T21" fmla="*/ 2147483647 h 992"/>
              <a:gd name="T22" fmla="*/ 2147483647 w 523"/>
              <a:gd name="T23" fmla="*/ 2147483647 h 992"/>
              <a:gd name="T24" fmla="*/ 2147483647 w 523"/>
              <a:gd name="T25" fmla="*/ 2147483647 h 992"/>
              <a:gd name="T26" fmla="*/ 2147483647 w 523"/>
              <a:gd name="T27" fmla="*/ 2147483647 h 992"/>
              <a:gd name="T28" fmla="*/ 2147483647 w 523"/>
              <a:gd name="T29" fmla="*/ 2147483647 h 992"/>
              <a:gd name="T30" fmla="*/ 2147483647 w 523"/>
              <a:gd name="T31" fmla="*/ 2147483647 h 992"/>
              <a:gd name="T32" fmla="*/ 2147483647 w 523"/>
              <a:gd name="T33" fmla="*/ 2147483647 h 992"/>
              <a:gd name="T34" fmla="*/ 2147483647 w 523"/>
              <a:gd name="T35" fmla="*/ 2147483647 h 992"/>
              <a:gd name="T36" fmla="*/ 2147483647 w 523"/>
              <a:gd name="T37" fmla="*/ 2147483647 h 992"/>
              <a:gd name="T38" fmla="*/ 2147483647 w 523"/>
              <a:gd name="T39" fmla="*/ 2147483647 h 992"/>
              <a:gd name="T40" fmla="*/ 2147483647 w 523"/>
              <a:gd name="T41" fmla="*/ 2147483647 h 992"/>
              <a:gd name="T42" fmla="*/ 2147483647 w 523"/>
              <a:gd name="T43" fmla="*/ 2147483647 h 992"/>
              <a:gd name="T44" fmla="*/ 2147483647 w 523"/>
              <a:gd name="T45" fmla="*/ 2147483647 h 992"/>
              <a:gd name="T46" fmla="*/ 2147483647 w 523"/>
              <a:gd name="T47" fmla="*/ 2147483647 h 992"/>
              <a:gd name="T48" fmla="*/ 2147483647 w 523"/>
              <a:gd name="T49" fmla="*/ 2147483647 h 992"/>
              <a:gd name="T50" fmla="*/ 2147483647 w 523"/>
              <a:gd name="T51" fmla="*/ 2147483647 h 992"/>
              <a:gd name="T52" fmla="*/ 2147483647 w 523"/>
              <a:gd name="T53" fmla="*/ 2147483647 h 992"/>
              <a:gd name="T54" fmla="*/ 2147483647 w 523"/>
              <a:gd name="T55" fmla="*/ 2147483647 h 992"/>
              <a:gd name="T56" fmla="*/ 2147483647 w 523"/>
              <a:gd name="T57" fmla="*/ 2147483647 h 992"/>
              <a:gd name="T58" fmla="*/ 2147483647 w 523"/>
              <a:gd name="T59" fmla="*/ 2147483647 h 992"/>
              <a:gd name="T60" fmla="*/ 2147483647 w 523"/>
              <a:gd name="T61" fmla="*/ 2147483647 h 992"/>
              <a:gd name="T62" fmla="*/ 2147483647 w 523"/>
              <a:gd name="T63" fmla="*/ 2147483647 h 992"/>
              <a:gd name="T64" fmla="*/ 2147483647 w 523"/>
              <a:gd name="T65" fmla="*/ 2147483647 h 992"/>
              <a:gd name="T66" fmla="*/ 2147483647 w 523"/>
              <a:gd name="T67" fmla="*/ 2147483647 h 992"/>
              <a:gd name="T68" fmla="*/ 2147483647 w 523"/>
              <a:gd name="T69" fmla="*/ 2147483647 h 992"/>
              <a:gd name="T70" fmla="*/ 2147483647 w 523"/>
              <a:gd name="T71" fmla="*/ 2147483647 h 992"/>
              <a:gd name="T72" fmla="*/ 2147483647 w 523"/>
              <a:gd name="T73" fmla="*/ 2147483647 h 992"/>
              <a:gd name="T74" fmla="*/ 2147483647 w 523"/>
              <a:gd name="T75" fmla="*/ 2147483647 h 992"/>
              <a:gd name="T76" fmla="*/ 2147483647 w 523"/>
              <a:gd name="T77" fmla="*/ 2147483647 h 992"/>
              <a:gd name="T78" fmla="*/ 2147483647 w 523"/>
              <a:gd name="T79" fmla="*/ 2147483647 h 992"/>
              <a:gd name="T80" fmla="*/ 2147483647 w 523"/>
              <a:gd name="T81" fmla="*/ 2147483647 h 992"/>
              <a:gd name="T82" fmla="*/ 2147483647 w 523"/>
              <a:gd name="T83" fmla="*/ 2147483647 h 992"/>
              <a:gd name="T84" fmla="*/ 2147483647 w 523"/>
              <a:gd name="T85" fmla="*/ 2147483647 h 992"/>
              <a:gd name="T86" fmla="*/ 2147483647 w 523"/>
              <a:gd name="T87" fmla="*/ 2147483647 h 992"/>
              <a:gd name="T88" fmla="*/ 2147483647 w 523"/>
              <a:gd name="T89" fmla="*/ 2147483647 h 992"/>
              <a:gd name="T90" fmla="*/ 2147483647 w 523"/>
              <a:gd name="T91" fmla="*/ 2147483647 h 992"/>
              <a:gd name="T92" fmla="*/ 2147483647 w 523"/>
              <a:gd name="T93" fmla="*/ 2147483647 h 992"/>
              <a:gd name="T94" fmla="*/ 2147483647 w 523"/>
              <a:gd name="T95" fmla="*/ 2147483647 h 992"/>
              <a:gd name="T96" fmla="*/ 2147483647 w 523"/>
              <a:gd name="T97" fmla="*/ 2147483647 h 992"/>
              <a:gd name="T98" fmla="*/ 2147483647 w 523"/>
              <a:gd name="T99" fmla="*/ 2147483647 h 992"/>
              <a:gd name="T100" fmla="*/ 2147483647 w 523"/>
              <a:gd name="T101" fmla="*/ 2147483647 h 992"/>
              <a:gd name="T102" fmla="*/ 2147483647 w 523"/>
              <a:gd name="T103" fmla="*/ 2147483647 h 992"/>
              <a:gd name="T104" fmla="*/ 2147483647 w 523"/>
              <a:gd name="T105" fmla="*/ 2147483647 h 9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3"/>
              <a:gd name="T160" fmla="*/ 0 h 992"/>
              <a:gd name="T161" fmla="*/ 523 w 523"/>
              <a:gd name="T162" fmla="*/ 992 h 9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3" h="992">
                <a:moveTo>
                  <a:pt x="500" y="139"/>
                </a:moveTo>
                <a:lnTo>
                  <a:pt x="497" y="0"/>
                </a:lnTo>
                <a:lnTo>
                  <a:pt x="453" y="1"/>
                </a:lnTo>
                <a:lnTo>
                  <a:pt x="435" y="63"/>
                </a:lnTo>
                <a:lnTo>
                  <a:pt x="341" y="89"/>
                </a:lnTo>
                <a:lnTo>
                  <a:pt x="281" y="48"/>
                </a:lnTo>
                <a:lnTo>
                  <a:pt x="213" y="86"/>
                </a:lnTo>
                <a:lnTo>
                  <a:pt x="217" y="158"/>
                </a:lnTo>
                <a:lnTo>
                  <a:pt x="166" y="212"/>
                </a:lnTo>
                <a:lnTo>
                  <a:pt x="96" y="201"/>
                </a:lnTo>
                <a:lnTo>
                  <a:pt x="49" y="276"/>
                </a:lnTo>
                <a:lnTo>
                  <a:pt x="91" y="335"/>
                </a:lnTo>
                <a:lnTo>
                  <a:pt x="63" y="424"/>
                </a:lnTo>
                <a:lnTo>
                  <a:pt x="2" y="440"/>
                </a:lnTo>
                <a:lnTo>
                  <a:pt x="1" y="445"/>
                </a:lnTo>
                <a:lnTo>
                  <a:pt x="1" y="450"/>
                </a:lnTo>
                <a:lnTo>
                  <a:pt x="0" y="456"/>
                </a:lnTo>
                <a:lnTo>
                  <a:pt x="0" y="462"/>
                </a:lnTo>
                <a:lnTo>
                  <a:pt x="0" y="468"/>
                </a:lnTo>
                <a:lnTo>
                  <a:pt x="0" y="474"/>
                </a:lnTo>
                <a:lnTo>
                  <a:pt x="0" y="477"/>
                </a:lnTo>
                <a:lnTo>
                  <a:pt x="0" y="481"/>
                </a:lnTo>
                <a:lnTo>
                  <a:pt x="0" y="483"/>
                </a:lnTo>
                <a:lnTo>
                  <a:pt x="0" y="487"/>
                </a:lnTo>
                <a:lnTo>
                  <a:pt x="0" y="491"/>
                </a:lnTo>
                <a:lnTo>
                  <a:pt x="0" y="494"/>
                </a:lnTo>
                <a:lnTo>
                  <a:pt x="0" y="497"/>
                </a:lnTo>
                <a:lnTo>
                  <a:pt x="0" y="500"/>
                </a:lnTo>
                <a:lnTo>
                  <a:pt x="0" y="504"/>
                </a:lnTo>
                <a:lnTo>
                  <a:pt x="0" y="507"/>
                </a:lnTo>
                <a:lnTo>
                  <a:pt x="0" y="511"/>
                </a:lnTo>
                <a:lnTo>
                  <a:pt x="0" y="515"/>
                </a:lnTo>
                <a:lnTo>
                  <a:pt x="0" y="518"/>
                </a:lnTo>
                <a:lnTo>
                  <a:pt x="0" y="521"/>
                </a:lnTo>
                <a:lnTo>
                  <a:pt x="0" y="524"/>
                </a:lnTo>
                <a:lnTo>
                  <a:pt x="1" y="528"/>
                </a:lnTo>
                <a:lnTo>
                  <a:pt x="1" y="531"/>
                </a:lnTo>
                <a:lnTo>
                  <a:pt x="1" y="535"/>
                </a:lnTo>
                <a:lnTo>
                  <a:pt x="2" y="538"/>
                </a:lnTo>
                <a:lnTo>
                  <a:pt x="2" y="542"/>
                </a:lnTo>
                <a:lnTo>
                  <a:pt x="63" y="559"/>
                </a:lnTo>
                <a:lnTo>
                  <a:pt x="88" y="652"/>
                </a:lnTo>
                <a:lnTo>
                  <a:pt x="48" y="711"/>
                </a:lnTo>
                <a:lnTo>
                  <a:pt x="86" y="780"/>
                </a:lnTo>
                <a:lnTo>
                  <a:pt x="158" y="777"/>
                </a:lnTo>
                <a:lnTo>
                  <a:pt x="212" y="826"/>
                </a:lnTo>
                <a:lnTo>
                  <a:pt x="201" y="897"/>
                </a:lnTo>
                <a:lnTo>
                  <a:pt x="278" y="944"/>
                </a:lnTo>
                <a:lnTo>
                  <a:pt x="334" y="903"/>
                </a:lnTo>
                <a:lnTo>
                  <a:pt x="431" y="931"/>
                </a:lnTo>
                <a:lnTo>
                  <a:pt x="442" y="988"/>
                </a:lnTo>
                <a:lnTo>
                  <a:pt x="497" y="992"/>
                </a:lnTo>
                <a:lnTo>
                  <a:pt x="523" y="935"/>
                </a:lnTo>
                <a:lnTo>
                  <a:pt x="496" y="853"/>
                </a:lnTo>
                <a:lnTo>
                  <a:pt x="494" y="853"/>
                </a:lnTo>
                <a:lnTo>
                  <a:pt x="493" y="853"/>
                </a:lnTo>
                <a:lnTo>
                  <a:pt x="491" y="853"/>
                </a:lnTo>
                <a:lnTo>
                  <a:pt x="488" y="853"/>
                </a:lnTo>
                <a:lnTo>
                  <a:pt x="484" y="852"/>
                </a:lnTo>
                <a:lnTo>
                  <a:pt x="479" y="852"/>
                </a:lnTo>
                <a:lnTo>
                  <a:pt x="474" y="852"/>
                </a:lnTo>
                <a:lnTo>
                  <a:pt x="469" y="852"/>
                </a:lnTo>
                <a:lnTo>
                  <a:pt x="466" y="851"/>
                </a:lnTo>
                <a:lnTo>
                  <a:pt x="462" y="851"/>
                </a:lnTo>
                <a:lnTo>
                  <a:pt x="459" y="851"/>
                </a:lnTo>
                <a:lnTo>
                  <a:pt x="455" y="850"/>
                </a:lnTo>
                <a:lnTo>
                  <a:pt x="451" y="850"/>
                </a:lnTo>
                <a:lnTo>
                  <a:pt x="448" y="848"/>
                </a:lnTo>
                <a:lnTo>
                  <a:pt x="444" y="848"/>
                </a:lnTo>
                <a:lnTo>
                  <a:pt x="441" y="848"/>
                </a:lnTo>
                <a:lnTo>
                  <a:pt x="436" y="847"/>
                </a:lnTo>
                <a:lnTo>
                  <a:pt x="432" y="846"/>
                </a:lnTo>
                <a:lnTo>
                  <a:pt x="427" y="845"/>
                </a:lnTo>
                <a:lnTo>
                  <a:pt x="424" y="844"/>
                </a:lnTo>
                <a:lnTo>
                  <a:pt x="419" y="842"/>
                </a:lnTo>
                <a:lnTo>
                  <a:pt x="414" y="842"/>
                </a:lnTo>
                <a:lnTo>
                  <a:pt x="409" y="841"/>
                </a:lnTo>
                <a:lnTo>
                  <a:pt x="405" y="840"/>
                </a:lnTo>
                <a:lnTo>
                  <a:pt x="400" y="839"/>
                </a:lnTo>
                <a:lnTo>
                  <a:pt x="395" y="838"/>
                </a:lnTo>
                <a:lnTo>
                  <a:pt x="390" y="836"/>
                </a:lnTo>
                <a:lnTo>
                  <a:pt x="384" y="835"/>
                </a:lnTo>
                <a:lnTo>
                  <a:pt x="379" y="833"/>
                </a:lnTo>
                <a:lnTo>
                  <a:pt x="375" y="832"/>
                </a:lnTo>
                <a:lnTo>
                  <a:pt x="369" y="829"/>
                </a:lnTo>
                <a:lnTo>
                  <a:pt x="365" y="828"/>
                </a:lnTo>
                <a:lnTo>
                  <a:pt x="359" y="826"/>
                </a:lnTo>
                <a:lnTo>
                  <a:pt x="354" y="823"/>
                </a:lnTo>
                <a:lnTo>
                  <a:pt x="348" y="821"/>
                </a:lnTo>
                <a:lnTo>
                  <a:pt x="344" y="820"/>
                </a:lnTo>
                <a:lnTo>
                  <a:pt x="339" y="816"/>
                </a:lnTo>
                <a:lnTo>
                  <a:pt x="334" y="814"/>
                </a:lnTo>
                <a:lnTo>
                  <a:pt x="328" y="813"/>
                </a:lnTo>
                <a:lnTo>
                  <a:pt x="323" y="810"/>
                </a:lnTo>
                <a:lnTo>
                  <a:pt x="317" y="807"/>
                </a:lnTo>
                <a:lnTo>
                  <a:pt x="312" y="803"/>
                </a:lnTo>
                <a:lnTo>
                  <a:pt x="308" y="801"/>
                </a:lnTo>
                <a:lnTo>
                  <a:pt x="302" y="797"/>
                </a:lnTo>
                <a:lnTo>
                  <a:pt x="297" y="793"/>
                </a:lnTo>
                <a:lnTo>
                  <a:pt x="292" y="790"/>
                </a:lnTo>
                <a:lnTo>
                  <a:pt x="286" y="787"/>
                </a:lnTo>
                <a:lnTo>
                  <a:pt x="282" y="784"/>
                </a:lnTo>
                <a:lnTo>
                  <a:pt x="276" y="779"/>
                </a:lnTo>
                <a:lnTo>
                  <a:pt x="272" y="775"/>
                </a:lnTo>
                <a:lnTo>
                  <a:pt x="267" y="772"/>
                </a:lnTo>
                <a:lnTo>
                  <a:pt x="262" y="767"/>
                </a:lnTo>
                <a:lnTo>
                  <a:pt x="257" y="763"/>
                </a:lnTo>
                <a:lnTo>
                  <a:pt x="254" y="759"/>
                </a:lnTo>
                <a:lnTo>
                  <a:pt x="249" y="754"/>
                </a:lnTo>
                <a:lnTo>
                  <a:pt x="245" y="749"/>
                </a:lnTo>
                <a:lnTo>
                  <a:pt x="243" y="748"/>
                </a:lnTo>
                <a:lnTo>
                  <a:pt x="239" y="744"/>
                </a:lnTo>
                <a:lnTo>
                  <a:pt x="237" y="742"/>
                </a:lnTo>
                <a:lnTo>
                  <a:pt x="235" y="740"/>
                </a:lnTo>
                <a:lnTo>
                  <a:pt x="231" y="736"/>
                </a:lnTo>
                <a:lnTo>
                  <a:pt x="229" y="734"/>
                </a:lnTo>
                <a:lnTo>
                  <a:pt x="224" y="729"/>
                </a:lnTo>
                <a:lnTo>
                  <a:pt x="220" y="724"/>
                </a:lnTo>
                <a:lnTo>
                  <a:pt x="215" y="718"/>
                </a:lnTo>
                <a:lnTo>
                  <a:pt x="212" y="713"/>
                </a:lnTo>
                <a:lnTo>
                  <a:pt x="209" y="710"/>
                </a:lnTo>
                <a:lnTo>
                  <a:pt x="207" y="706"/>
                </a:lnTo>
                <a:lnTo>
                  <a:pt x="205" y="704"/>
                </a:lnTo>
                <a:lnTo>
                  <a:pt x="202" y="700"/>
                </a:lnTo>
                <a:lnTo>
                  <a:pt x="200" y="696"/>
                </a:lnTo>
                <a:lnTo>
                  <a:pt x="197" y="693"/>
                </a:lnTo>
                <a:lnTo>
                  <a:pt x="195" y="689"/>
                </a:lnTo>
                <a:lnTo>
                  <a:pt x="193" y="686"/>
                </a:lnTo>
                <a:lnTo>
                  <a:pt x="190" y="681"/>
                </a:lnTo>
                <a:lnTo>
                  <a:pt x="188" y="677"/>
                </a:lnTo>
                <a:lnTo>
                  <a:pt x="185" y="673"/>
                </a:lnTo>
                <a:lnTo>
                  <a:pt x="183" y="668"/>
                </a:lnTo>
                <a:lnTo>
                  <a:pt x="179" y="664"/>
                </a:lnTo>
                <a:lnTo>
                  <a:pt x="178" y="659"/>
                </a:lnTo>
                <a:lnTo>
                  <a:pt x="176" y="653"/>
                </a:lnTo>
                <a:lnTo>
                  <a:pt x="173" y="650"/>
                </a:lnTo>
                <a:lnTo>
                  <a:pt x="171" y="644"/>
                </a:lnTo>
                <a:lnTo>
                  <a:pt x="169" y="639"/>
                </a:lnTo>
                <a:lnTo>
                  <a:pt x="166" y="633"/>
                </a:lnTo>
                <a:lnTo>
                  <a:pt x="165" y="628"/>
                </a:lnTo>
                <a:lnTo>
                  <a:pt x="163" y="622"/>
                </a:lnTo>
                <a:lnTo>
                  <a:pt x="160" y="617"/>
                </a:lnTo>
                <a:lnTo>
                  <a:pt x="158" y="611"/>
                </a:lnTo>
                <a:lnTo>
                  <a:pt x="157" y="606"/>
                </a:lnTo>
                <a:lnTo>
                  <a:pt x="154" y="600"/>
                </a:lnTo>
                <a:lnTo>
                  <a:pt x="153" y="594"/>
                </a:lnTo>
                <a:lnTo>
                  <a:pt x="151" y="588"/>
                </a:lnTo>
                <a:lnTo>
                  <a:pt x="149" y="580"/>
                </a:lnTo>
                <a:lnTo>
                  <a:pt x="147" y="574"/>
                </a:lnTo>
                <a:lnTo>
                  <a:pt x="146" y="567"/>
                </a:lnTo>
                <a:lnTo>
                  <a:pt x="145" y="560"/>
                </a:lnTo>
                <a:lnTo>
                  <a:pt x="144" y="554"/>
                </a:lnTo>
                <a:lnTo>
                  <a:pt x="142" y="547"/>
                </a:lnTo>
                <a:lnTo>
                  <a:pt x="141" y="540"/>
                </a:lnTo>
                <a:lnTo>
                  <a:pt x="140" y="531"/>
                </a:lnTo>
                <a:lnTo>
                  <a:pt x="140" y="525"/>
                </a:lnTo>
                <a:lnTo>
                  <a:pt x="139" y="517"/>
                </a:lnTo>
                <a:lnTo>
                  <a:pt x="138" y="510"/>
                </a:lnTo>
                <a:lnTo>
                  <a:pt x="138" y="501"/>
                </a:lnTo>
                <a:lnTo>
                  <a:pt x="138" y="494"/>
                </a:lnTo>
                <a:lnTo>
                  <a:pt x="138" y="492"/>
                </a:lnTo>
                <a:lnTo>
                  <a:pt x="138" y="489"/>
                </a:lnTo>
                <a:lnTo>
                  <a:pt x="138" y="485"/>
                </a:lnTo>
                <a:lnTo>
                  <a:pt x="138" y="482"/>
                </a:lnTo>
                <a:lnTo>
                  <a:pt x="138" y="476"/>
                </a:lnTo>
                <a:lnTo>
                  <a:pt x="139" y="471"/>
                </a:lnTo>
                <a:lnTo>
                  <a:pt x="139" y="465"/>
                </a:lnTo>
                <a:lnTo>
                  <a:pt x="140" y="460"/>
                </a:lnTo>
                <a:lnTo>
                  <a:pt x="140" y="456"/>
                </a:lnTo>
                <a:lnTo>
                  <a:pt x="141" y="452"/>
                </a:lnTo>
                <a:lnTo>
                  <a:pt x="141" y="449"/>
                </a:lnTo>
                <a:lnTo>
                  <a:pt x="142" y="445"/>
                </a:lnTo>
                <a:lnTo>
                  <a:pt x="142" y="442"/>
                </a:lnTo>
                <a:lnTo>
                  <a:pt x="144" y="437"/>
                </a:lnTo>
                <a:lnTo>
                  <a:pt x="144" y="433"/>
                </a:lnTo>
                <a:lnTo>
                  <a:pt x="145" y="430"/>
                </a:lnTo>
                <a:lnTo>
                  <a:pt x="145" y="425"/>
                </a:lnTo>
                <a:lnTo>
                  <a:pt x="146" y="421"/>
                </a:lnTo>
                <a:lnTo>
                  <a:pt x="147" y="416"/>
                </a:lnTo>
                <a:lnTo>
                  <a:pt x="148" y="413"/>
                </a:lnTo>
                <a:lnTo>
                  <a:pt x="149" y="408"/>
                </a:lnTo>
                <a:lnTo>
                  <a:pt x="151" y="403"/>
                </a:lnTo>
                <a:lnTo>
                  <a:pt x="152" y="398"/>
                </a:lnTo>
                <a:lnTo>
                  <a:pt x="153" y="395"/>
                </a:lnTo>
                <a:lnTo>
                  <a:pt x="154" y="390"/>
                </a:lnTo>
                <a:lnTo>
                  <a:pt x="155" y="385"/>
                </a:lnTo>
                <a:lnTo>
                  <a:pt x="157" y="381"/>
                </a:lnTo>
                <a:lnTo>
                  <a:pt x="158" y="376"/>
                </a:lnTo>
                <a:lnTo>
                  <a:pt x="160" y="371"/>
                </a:lnTo>
                <a:lnTo>
                  <a:pt x="161" y="366"/>
                </a:lnTo>
                <a:lnTo>
                  <a:pt x="164" y="361"/>
                </a:lnTo>
                <a:lnTo>
                  <a:pt x="166" y="357"/>
                </a:lnTo>
                <a:lnTo>
                  <a:pt x="167" y="352"/>
                </a:lnTo>
                <a:lnTo>
                  <a:pt x="170" y="347"/>
                </a:lnTo>
                <a:lnTo>
                  <a:pt x="172" y="341"/>
                </a:lnTo>
                <a:lnTo>
                  <a:pt x="175" y="336"/>
                </a:lnTo>
                <a:lnTo>
                  <a:pt x="177" y="331"/>
                </a:lnTo>
                <a:lnTo>
                  <a:pt x="179" y="327"/>
                </a:lnTo>
                <a:lnTo>
                  <a:pt x="182" y="322"/>
                </a:lnTo>
                <a:lnTo>
                  <a:pt x="185" y="317"/>
                </a:lnTo>
                <a:lnTo>
                  <a:pt x="188" y="312"/>
                </a:lnTo>
                <a:lnTo>
                  <a:pt x="190" y="308"/>
                </a:lnTo>
                <a:lnTo>
                  <a:pt x="193" y="302"/>
                </a:lnTo>
                <a:lnTo>
                  <a:pt x="196" y="298"/>
                </a:lnTo>
                <a:lnTo>
                  <a:pt x="200" y="292"/>
                </a:lnTo>
                <a:lnTo>
                  <a:pt x="202" y="287"/>
                </a:lnTo>
                <a:lnTo>
                  <a:pt x="206" y="284"/>
                </a:lnTo>
                <a:lnTo>
                  <a:pt x="211" y="279"/>
                </a:lnTo>
                <a:lnTo>
                  <a:pt x="214" y="274"/>
                </a:lnTo>
                <a:lnTo>
                  <a:pt x="217" y="269"/>
                </a:lnTo>
                <a:lnTo>
                  <a:pt x="221" y="264"/>
                </a:lnTo>
                <a:lnTo>
                  <a:pt x="226" y="261"/>
                </a:lnTo>
                <a:lnTo>
                  <a:pt x="230" y="256"/>
                </a:lnTo>
                <a:lnTo>
                  <a:pt x="235" y="251"/>
                </a:lnTo>
                <a:lnTo>
                  <a:pt x="238" y="248"/>
                </a:lnTo>
                <a:lnTo>
                  <a:pt x="244" y="244"/>
                </a:lnTo>
                <a:lnTo>
                  <a:pt x="244" y="242"/>
                </a:lnTo>
                <a:lnTo>
                  <a:pt x="248" y="239"/>
                </a:lnTo>
                <a:lnTo>
                  <a:pt x="249" y="237"/>
                </a:lnTo>
                <a:lnTo>
                  <a:pt x="252" y="235"/>
                </a:lnTo>
                <a:lnTo>
                  <a:pt x="255" y="231"/>
                </a:lnTo>
                <a:lnTo>
                  <a:pt x="260" y="227"/>
                </a:lnTo>
                <a:lnTo>
                  <a:pt x="262" y="224"/>
                </a:lnTo>
                <a:lnTo>
                  <a:pt x="268" y="219"/>
                </a:lnTo>
                <a:lnTo>
                  <a:pt x="273" y="215"/>
                </a:lnTo>
                <a:lnTo>
                  <a:pt x="279" y="212"/>
                </a:lnTo>
                <a:lnTo>
                  <a:pt x="281" y="208"/>
                </a:lnTo>
                <a:lnTo>
                  <a:pt x="285" y="206"/>
                </a:lnTo>
                <a:lnTo>
                  <a:pt x="287" y="203"/>
                </a:lnTo>
                <a:lnTo>
                  <a:pt x="292" y="201"/>
                </a:lnTo>
                <a:lnTo>
                  <a:pt x="296" y="199"/>
                </a:lnTo>
                <a:lnTo>
                  <a:pt x="298" y="197"/>
                </a:lnTo>
                <a:lnTo>
                  <a:pt x="303" y="194"/>
                </a:lnTo>
                <a:lnTo>
                  <a:pt x="308" y="193"/>
                </a:lnTo>
                <a:lnTo>
                  <a:pt x="310" y="189"/>
                </a:lnTo>
                <a:lnTo>
                  <a:pt x="315" y="188"/>
                </a:lnTo>
                <a:lnTo>
                  <a:pt x="318" y="184"/>
                </a:lnTo>
                <a:lnTo>
                  <a:pt x="323" y="182"/>
                </a:lnTo>
                <a:lnTo>
                  <a:pt x="328" y="179"/>
                </a:lnTo>
                <a:lnTo>
                  <a:pt x="333" y="177"/>
                </a:lnTo>
                <a:lnTo>
                  <a:pt x="338" y="175"/>
                </a:lnTo>
                <a:lnTo>
                  <a:pt x="342" y="174"/>
                </a:lnTo>
                <a:lnTo>
                  <a:pt x="347" y="170"/>
                </a:lnTo>
                <a:lnTo>
                  <a:pt x="352" y="168"/>
                </a:lnTo>
                <a:lnTo>
                  <a:pt x="358" y="165"/>
                </a:lnTo>
                <a:lnTo>
                  <a:pt x="363" y="164"/>
                </a:lnTo>
                <a:lnTo>
                  <a:pt x="369" y="162"/>
                </a:lnTo>
                <a:lnTo>
                  <a:pt x="375" y="160"/>
                </a:lnTo>
                <a:lnTo>
                  <a:pt x="381" y="158"/>
                </a:lnTo>
                <a:lnTo>
                  <a:pt x="387" y="157"/>
                </a:lnTo>
                <a:lnTo>
                  <a:pt x="393" y="154"/>
                </a:lnTo>
                <a:lnTo>
                  <a:pt x="399" y="152"/>
                </a:lnTo>
                <a:lnTo>
                  <a:pt x="405" y="151"/>
                </a:lnTo>
                <a:lnTo>
                  <a:pt x="412" y="150"/>
                </a:lnTo>
                <a:lnTo>
                  <a:pt x="418" y="147"/>
                </a:lnTo>
                <a:lnTo>
                  <a:pt x="425" y="146"/>
                </a:lnTo>
                <a:lnTo>
                  <a:pt x="431" y="145"/>
                </a:lnTo>
                <a:lnTo>
                  <a:pt x="439" y="144"/>
                </a:lnTo>
                <a:lnTo>
                  <a:pt x="445" y="142"/>
                </a:lnTo>
                <a:lnTo>
                  <a:pt x="453" y="141"/>
                </a:lnTo>
                <a:lnTo>
                  <a:pt x="460" y="140"/>
                </a:lnTo>
                <a:lnTo>
                  <a:pt x="468" y="140"/>
                </a:lnTo>
                <a:lnTo>
                  <a:pt x="475" y="139"/>
                </a:lnTo>
                <a:lnTo>
                  <a:pt x="484" y="139"/>
                </a:lnTo>
                <a:lnTo>
                  <a:pt x="491" y="139"/>
                </a:lnTo>
                <a:lnTo>
                  <a:pt x="500" y="139"/>
                </a:lnTo>
                <a:close/>
              </a:path>
            </a:pathLst>
          </a:custGeom>
          <a:solidFill>
            <a:srgbClr val="EAEAEA"/>
          </a:solidFill>
          <a:ln w="9525">
            <a:noFill/>
            <a:round/>
            <a:headEnd/>
            <a:tailEnd/>
          </a:ln>
        </p:spPr>
        <p:txBody>
          <a:bodyPr/>
          <a:lstStyle/>
          <a:p>
            <a:endParaRPr lang="en-US"/>
          </a:p>
        </p:txBody>
      </p:sp>
      <p:sp>
        <p:nvSpPr>
          <p:cNvPr id="50196" name="Oval 32"/>
          <p:cNvSpPr>
            <a:spLocks noChangeArrowheads="1"/>
          </p:cNvSpPr>
          <p:nvPr/>
        </p:nvSpPr>
        <p:spPr bwMode="gray">
          <a:xfrm>
            <a:off x="3578225" y="5056188"/>
            <a:ext cx="1595438" cy="1571625"/>
          </a:xfrm>
          <a:prstGeom prst="ellipse">
            <a:avLst/>
          </a:prstGeom>
          <a:solidFill>
            <a:srgbClr val="EAEAEA"/>
          </a:solidFill>
          <a:ln w="28575">
            <a:solidFill>
              <a:srgbClr val="DDDDDD"/>
            </a:solidFill>
            <a:round/>
            <a:headEnd/>
            <a:tailEnd/>
          </a:ln>
        </p:spPr>
        <p:txBody>
          <a:bodyPr/>
          <a:lstStyle/>
          <a:p>
            <a:endParaRPr lang="en-US"/>
          </a:p>
        </p:txBody>
      </p:sp>
      <p:sp>
        <p:nvSpPr>
          <p:cNvPr id="50197" name="Oval 33"/>
          <p:cNvSpPr>
            <a:spLocks noChangeArrowheads="1"/>
          </p:cNvSpPr>
          <p:nvPr/>
        </p:nvSpPr>
        <p:spPr bwMode="gray">
          <a:xfrm flipV="1">
            <a:off x="4249738" y="5737225"/>
            <a:ext cx="222250" cy="219075"/>
          </a:xfrm>
          <a:prstGeom prst="ellipse">
            <a:avLst/>
          </a:prstGeom>
          <a:solidFill>
            <a:srgbClr val="DDDDDD"/>
          </a:solidFill>
          <a:ln w="28575">
            <a:solidFill>
              <a:srgbClr val="DDDDDD"/>
            </a:solidFill>
            <a:round/>
            <a:headEnd/>
            <a:tailEnd/>
          </a:ln>
        </p:spPr>
        <p:txBody>
          <a:bodyPr/>
          <a:lstStyle/>
          <a:p>
            <a:endParaRPr lang="en-US"/>
          </a:p>
        </p:txBody>
      </p:sp>
      <p:sp>
        <p:nvSpPr>
          <p:cNvPr id="50198" name="Oval 39"/>
          <p:cNvSpPr>
            <a:spLocks noChangeArrowheads="1"/>
          </p:cNvSpPr>
          <p:nvPr/>
        </p:nvSpPr>
        <p:spPr bwMode="gray">
          <a:xfrm flipV="1">
            <a:off x="6161088" y="3933825"/>
            <a:ext cx="222250" cy="219075"/>
          </a:xfrm>
          <a:prstGeom prst="ellipse">
            <a:avLst/>
          </a:prstGeom>
          <a:solidFill>
            <a:srgbClr val="DDDDDD"/>
          </a:solidFill>
          <a:ln w="28575">
            <a:solidFill>
              <a:srgbClr val="DDDDDD"/>
            </a:solidFill>
            <a:round/>
            <a:headEnd/>
            <a:tailEnd/>
          </a:ln>
        </p:spPr>
        <p:txBody>
          <a:bodyPr/>
          <a:lstStyle/>
          <a:p>
            <a:endParaRPr lang="en-US"/>
          </a:p>
        </p:txBody>
      </p:sp>
      <p:sp>
        <p:nvSpPr>
          <p:cNvPr id="50199" name="Text Box 43"/>
          <p:cNvSpPr txBox="1">
            <a:spLocks noChangeArrowheads="1"/>
          </p:cNvSpPr>
          <p:nvPr/>
        </p:nvSpPr>
        <p:spPr bwMode="gray">
          <a:xfrm>
            <a:off x="3381375" y="5054600"/>
            <a:ext cx="1938338" cy="1527175"/>
          </a:xfrm>
          <a:prstGeom prst="rect">
            <a:avLst/>
          </a:prstGeom>
          <a:noFill/>
          <a:ln w="12700">
            <a:noFill/>
            <a:miter lim="800000"/>
            <a:headEnd/>
            <a:tailEnd/>
          </a:ln>
        </p:spPr>
        <p:txBody>
          <a:bodyPr anchor="ctr"/>
          <a:lstStyle/>
          <a:p>
            <a:pPr algn="ctr" eaLnBrk="0" hangingPunct="0">
              <a:buClr>
                <a:schemeClr val="accent2"/>
              </a:buClr>
              <a:buFont typeface="Symbol" pitchFamily="18" charset="2"/>
              <a:buNone/>
            </a:pPr>
            <a:r>
              <a:rPr lang="en-US" sz="1600" b="1"/>
              <a:t>Communications</a:t>
            </a:r>
            <a:endParaRPr lang="en-US" sz="1000"/>
          </a:p>
        </p:txBody>
      </p:sp>
      <p:sp>
        <p:nvSpPr>
          <p:cNvPr id="50200" name="Text Box 44"/>
          <p:cNvSpPr txBox="1">
            <a:spLocks noChangeArrowheads="1"/>
          </p:cNvSpPr>
          <p:nvPr/>
        </p:nvSpPr>
        <p:spPr bwMode="gray">
          <a:xfrm>
            <a:off x="1674813" y="3159125"/>
            <a:ext cx="1495425" cy="1527175"/>
          </a:xfrm>
          <a:prstGeom prst="rect">
            <a:avLst/>
          </a:prstGeom>
          <a:noFill/>
          <a:ln w="12700">
            <a:noFill/>
            <a:miter lim="800000"/>
            <a:headEnd/>
            <a:tailEnd/>
          </a:ln>
        </p:spPr>
        <p:txBody>
          <a:bodyPr anchor="ctr"/>
          <a:lstStyle/>
          <a:p>
            <a:pPr algn="ctr" eaLnBrk="0" hangingPunct="0">
              <a:buClr>
                <a:schemeClr val="accent2"/>
              </a:buClr>
              <a:buFont typeface="Symbol" pitchFamily="18" charset="2"/>
              <a:buNone/>
            </a:pPr>
            <a:r>
              <a:rPr lang="en-US" sz="1600" b="1"/>
              <a:t>Finance &amp; Accounting</a:t>
            </a:r>
            <a:endParaRPr lang="en-US" sz="1000"/>
          </a:p>
        </p:txBody>
      </p:sp>
      <p:sp>
        <p:nvSpPr>
          <p:cNvPr id="50201" name="Text Box 45"/>
          <p:cNvSpPr txBox="1">
            <a:spLocks noChangeArrowheads="1"/>
          </p:cNvSpPr>
          <p:nvPr/>
        </p:nvSpPr>
        <p:spPr bwMode="gray">
          <a:xfrm>
            <a:off x="5791200" y="1535113"/>
            <a:ext cx="2809875" cy="1187450"/>
          </a:xfrm>
          <a:prstGeom prst="rect">
            <a:avLst/>
          </a:prstGeom>
          <a:noFill/>
          <a:ln w="9525" algn="ctr">
            <a:noFill/>
            <a:miter lim="800000"/>
            <a:headEnd/>
            <a:tailEnd/>
          </a:ln>
        </p:spPr>
        <p:txBody>
          <a:bodyPr>
            <a:spAutoFit/>
          </a:bodyPr>
          <a:lstStyle/>
          <a:p>
            <a:pPr marL="119063" indent="-119063">
              <a:buFontTx/>
              <a:buChar char="•"/>
            </a:pPr>
            <a:r>
              <a:rPr lang="en-US" sz="1200">
                <a:solidFill>
                  <a:schemeClr val="bg2"/>
                </a:solidFill>
              </a:rPr>
              <a:t>Contract defined activities for target audiences</a:t>
            </a:r>
          </a:p>
          <a:p>
            <a:pPr marL="119063" indent="-119063">
              <a:buFontTx/>
              <a:buChar char="•"/>
            </a:pPr>
            <a:r>
              <a:rPr lang="en-US" sz="1200">
                <a:solidFill>
                  <a:schemeClr val="bg2"/>
                </a:solidFill>
              </a:rPr>
              <a:t>HIV Testing </a:t>
            </a:r>
          </a:p>
          <a:p>
            <a:pPr marL="119063" indent="-119063">
              <a:buFontTx/>
              <a:buChar char="•"/>
            </a:pPr>
            <a:r>
              <a:rPr lang="en-US" sz="1200">
                <a:solidFill>
                  <a:schemeClr val="bg2"/>
                </a:solidFill>
              </a:rPr>
              <a:t>Contraceptive distribution</a:t>
            </a:r>
          </a:p>
          <a:p>
            <a:pPr marL="119063" indent="-119063">
              <a:buFontTx/>
              <a:buChar char="•"/>
            </a:pPr>
            <a:r>
              <a:rPr lang="en-US" sz="1200">
                <a:solidFill>
                  <a:schemeClr val="bg2"/>
                </a:solidFill>
              </a:rPr>
              <a:t>Counseling/ support services</a:t>
            </a:r>
          </a:p>
          <a:p>
            <a:pPr marL="119063" indent="-119063">
              <a:buFontTx/>
              <a:buChar char="•"/>
            </a:pPr>
            <a:r>
              <a:rPr lang="en-US" sz="1200">
                <a:solidFill>
                  <a:schemeClr val="bg2"/>
                </a:solidFill>
              </a:rPr>
              <a:t>STD testing</a:t>
            </a:r>
          </a:p>
        </p:txBody>
      </p:sp>
      <p:sp>
        <p:nvSpPr>
          <p:cNvPr id="50202" name="Text Box 47"/>
          <p:cNvSpPr txBox="1">
            <a:spLocks noChangeArrowheads="1"/>
          </p:cNvSpPr>
          <p:nvPr/>
        </p:nvSpPr>
        <p:spPr bwMode="gray">
          <a:xfrm>
            <a:off x="6889750" y="4964113"/>
            <a:ext cx="2152650" cy="822325"/>
          </a:xfrm>
          <a:prstGeom prst="rect">
            <a:avLst/>
          </a:prstGeom>
          <a:noFill/>
          <a:ln w="9525" algn="ctr">
            <a:noFill/>
            <a:miter lim="800000"/>
            <a:headEnd/>
            <a:tailEnd/>
          </a:ln>
        </p:spPr>
        <p:txBody>
          <a:bodyPr wrap="none">
            <a:spAutoFit/>
          </a:bodyPr>
          <a:lstStyle/>
          <a:p>
            <a:pPr marL="119063" indent="-119063">
              <a:buFontTx/>
              <a:buChar char="•"/>
            </a:pPr>
            <a:r>
              <a:rPr lang="en-US" sz="1200">
                <a:solidFill>
                  <a:schemeClr val="bg2"/>
                </a:solidFill>
              </a:rPr>
              <a:t>Key performance indicators</a:t>
            </a:r>
          </a:p>
          <a:p>
            <a:pPr marL="119063" indent="-119063">
              <a:buFontTx/>
              <a:buChar char="•"/>
            </a:pPr>
            <a:r>
              <a:rPr lang="en-US" sz="1200">
                <a:solidFill>
                  <a:schemeClr val="bg2"/>
                </a:solidFill>
              </a:rPr>
              <a:t>Program outcomes</a:t>
            </a:r>
          </a:p>
          <a:p>
            <a:pPr marL="119063" indent="-119063">
              <a:buFontTx/>
              <a:buChar char="•"/>
            </a:pPr>
            <a:r>
              <a:rPr lang="en-US" sz="1200">
                <a:solidFill>
                  <a:schemeClr val="bg2"/>
                </a:solidFill>
              </a:rPr>
              <a:t>Capacity status</a:t>
            </a:r>
          </a:p>
          <a:p>
            <a:pPr marL="119063" indent="-119063">
              <a:buFontTx/>
              <a:buChar char="•"/>
            </a:pPr>
            <a:r>
              <a:rPr lang="en-US" sz="1200">
                <a:solidFill>
                  <a:schemeClr val="bg2"/>
                </a:solidFill>
              </a:rPr>
              <a:t>Trends</a:t>
            </a:r>
          </a:p>
        </p:txBody>
      </p:sp>
      <p:sp>
        <p:nvSpPr>
          <p:cNvPr id="50203" name="Text Box 49"/>
          <p:cNvSpPr txBox="1">
            <a:spLocks noChangeArrowheads="1"/>
          </p:cNvSpPr>
          <p:nvPr/>
        </p:nvSpPr>
        <p:spPr bwMode="gray">
          <a:xfrm>
            <a:off x="-44450" y="2144713"/>
            <a:ext cx="1828800" cy="639762"/>
          </a:xfrm>
          <a:prstGeom prst="rect">
            <a:avLst/>
          </a:prstGeom>
          <a:noFill/>
          <a:ln w="9525" algn="ctr">
            <a:noFill/>
            <a:miter lim="800000"/>
            <a:headEnd/>
            <a:tailEnd/>
          </a:ln>
        </p:spPr>
        <p:txBody>
          <a:bodyPr>
            <a:spAutoFit/>
          </a:bodyPr>
          <a:lstStyle/>
          <a:p>
            <a:pPr marL="119063" indent="-119063" algn="r">
              <a:buFontTx/>
              <a:buChar char="•"/>
            </a:pPr>
            <a:r>
              <a:rPr lang="en-US" sz="1200">
                <a:solidFill>
                  <a:schemeClr val="bg2"/>
                </a:solidFill>
              </a:rPr>
              <a:t>Budgeting, Planning and Forecasting</a:t>
            </a:r>
          </a:p>
          <a:p>
            <a:pPr marL="119063" indent="-119063" algn="r">
              <a:buFontTx/>
              <a:buChar char="•"/>
            </a:pPr>
            <a:r>
              <a:rPr lang="en-US" sz="1200">
                <a:solidFill>
                  <a:schemeClr val="bg2"/>
                </a:solidFill>
              </a:rPr>
              <a:t>Payment Processing</a:t>
            </a:r>
          </a:p>
        </p:txBody>
      </p:sp>
      <p:sp>
        <p:nvSpPr>
          <p:cNvPr id="50204" name="Line 50"/>
          <p:cNvSpPr>
            <a:spLocks noChangeShapeType="1"/>
          </p:cNvSpPr>
          <p:nvPr/>
        </p:nvSpPr>
        <p:spPr bwMode="gray">
          <a:xfrm>
            <a:off x="5791200" y="1611313"/>
            <a:ext cx="7938" cy="884237"/>
          </a:xfrm>
          <a:prstGeom prst="line">
            <a:avLst/>
          </a:prstGeom>
          <a:noFill/>
          <a:ln w="9525">
            <a:solidFill>
              <a:schemeClr val="bg2"/>
            </a:solidFill>
            <a:round/>
            <a:headEnd/>
            <a:tailEnd/>
          </a:ln>
        </p:spPr>
        <p:txBody>
          <a:bodyPr/>
          <a:lstStyle/>
          <a:p>
            <a:endParaRPr lang="en-US"/>
          </a:p>
        </p:txBody>
      </p:sp>
      <p:sp>
        <p:nvSpPr>
          <p:cNvPr id="50205" name="Line 54"/>
          <p:cNvSpPr>
            <a:spLocks noChangeShapeType="1"/>
          </p:cNvSpPr>
          <p:nvPr/>
        </p:nvSpPr>
        <p:spPr bwMode="gray">
          <a:xfrm>
            <a:off x="6934200" y="4964113"/>
            <a:ext cx="0" cy="860425"/>
          </a:xfrm>
          <a:prstGeom prst="line">
            <a:avLst/>
          </a:prstGeom>
          <a:noFill/>
          <a:ln w="9525">
            <a:solidFill>
              <a:schemeClr val="bg2"/>
            </a:solidFill>
            <a:round/>
            <a:headEnd/>
            <a:tailEnd/>
          </a:ln>
        </p:spPr>
        <p:txBody>
          <a:bodyPr/>
          <a:lstStyle/>
          <a:p>
            <a:endParaRPr lang="en-US"/>
          </a:p>
        </p:txBody>
      </p:sp>
      <p:sp>
        <p:nvSpPr>
          <p:cNvPr id="50206" name="Line 55"/>
          <p:cNvSpPr>
            <a:spLocks noChangeShapeType="1"/>
          </p:cNvSpPr>
          <p:nvPr/>
        </p:nvSpPr>
        <p:spPr bwMode="gray">
          <a:xfrm flipH="1" flipV="1">
            <a:off x="6553200" y="4659313"/>
            <a:ext cx="363538" cy="608012"/>
          </a:xfrm>
          <a:prstGeom prst="line">
            <a:avLst/>
          </a:prstGeom>
          <a:noFill/>
          <a:ln w="9525">
            <a:solidFill>
              <a:schemeClr val="bg2"/>
            </a:solidFill>
            <a:round/>
            <a:headEnd/>
            <a:tailEnd/>
          </a:ln>
        </p:spPr>
        <p:txBody>
          <a:bodyPr/>
          <a:lstStyle/>
          <a:p>
            <a:endParaRPr lang="en-US"/>
          </a:p>
        </p:txBody>
      </p:sp>
      <p:sp>
        <p:nvSpPr>
          <p:cNvPr id="50207" name="Line 57"/>
          <p:cNvSpPr>
            <a:spLocks noChangeShapeType="1"/>
          </p:cNvSpPr>
          <p:nvPr/>
        </p:nvSpPr>
        <p:spPr bwMode="gray">
          <a:xfrm>
            <a:off x="1752600" y="2982913"/>
            <a:ext cx="369888" cy="593725"/>
          </a:xfrm>
          <a:prstGeom prst="line">
            <a:avLst/>
          </a:prstGeom>
          <a:noFill/>
          <a:ln w="9525">
            <a:solidFill>
              <a:schemeClr val="bg2"/>
            </a:solidFill>
            <a:round/>
            <a:headEnd/>
            <a:tailEnd/>
          </a:ln>
        </p:spPr>
        <p:txBody>
          <a:bodyPr/>
          <a:lstStyle/>
          <a:p>
            <a:endParaRPr lang="en-US"/>
          </a:p>
        </p:txBody>
      </p:sp>
      <p:sp>
        <p:nvSpPr>
          <p:cNvPr id="50208" name="Text Box 58"/>
          <p:cNvSpPr txBox="1">
            <a:spLocks noChangeArrowheads="1"/>
          </p:cNvSpPr>
          <p:nvPr/>
        </p:nvSpPr>
        <p:spPr bwMode="gray">
          <a:xfrm>
            <a:off x="1203325" y="5243513"/>
            <a:ext cx="1768475" cy="1004887"/>
          </a:xfrm>
          <a:prstGeom prst="rect">
            <a:avLst/>
          </a:prstGeom>
          <a:noFill/>
          <a:ln w="9525" algn="ctr">
            <a:noFill/>
            <a:miter lim="800000"/>
            <a:headEnd/>
            <a:tailEnd/>
          </a:ln>
        </p:spPr>
        <p:txBody>
          <a:bodyPr>
            <a:spAutoFit/>
          </a:bodyPr>
          <a:lstStyle/>
          <a:p>
            <a:pPr marL="119063" indent="-119063" algn="r">
              <a:buFontTx/>
              <a:buChar char="•"/>
            </a:pPr>
            <a:r>
              <a:rPr lang="en-US" sz="1200">
                <a:solidFill>
                  <a:schemeClr val="bg2"/>
                </a:solidFill>
              </a:rPr>
              <a:t>Website, Facebook</a:t>
            </a:r>
          </a:p>
          <a:p>
            <a:pPr marL="119063" indent="-119063" algn="r">
              <a:buFontTx/>
              <a:buChar char="•"/>
            </a:pPr>
            <a:r>
              <a:rPr lang="en-US" sz="1200">
                <a:solidFill>
                  <a:schemeClr val="bg2"/>
                </a:solidFill>
              </a:rPr>
              <a:t>Print Media</a:t>
            </a:r>
          </a:p>
          <a:p>
            <a:pPr marL="119063" indent="-119063" algn="r">
              <a:buFontTx/>
              <a:buChar char="•"/>
            </a:pPr>
            <a:r>
              <a:rPr lang="en-US" sz="1200">
                <a:solidFill>
                  <a:schemeClr val="bg2"/>
                </a:solidFill>
              </a:rPr>
              <a:t>Internal </a:t>
            </a:r>
          </a:p>
          <a:p>
            <a:pPr marL="119063" indent="-119063" algn="r">
              <a:buFontTx/>
              <a:buChar char="•"/>
            </a:pPr>
            <a:r>
              <a:rPr lang="en-US" sz="1200">
                <a:solidFill>
                  <a:schemeClr val="bg2"/>
                </a:solidFill>
              </a:rPr>
              <a:t>External/PR</a:t>
            </a:r>
          </a:p>
          <a:p>
            <a:pPr marL="119063" indent="-119063" algn="r">
              <a:buFontTx/>
              <a:buChar char="•"/>
            </a:pPr>
            <a:r>
              <a:rPr lang="en-US" sz="1200">
                <a:solidFill>
                  <a:schemeClr val="bg2"/>
                </a:solidFill>
              </a:rPr>
              <a:t>Calendar of events </a:t>
            </a:r>
          </a:p>
        </p:txBody>
      </p:sp>
      <p:sp>
        <p:nvSpPr>
          <p:cNvPr id="50209" name="Line 59"/>
          <p:cNvSpPr>
            <a:spLocks noChangeShapeType="1"/>
          </p:cNvSpPr>
          <p:nvPr/>
        </p:nvSpPr>
        <p:spPr bwMode="gray">
          <a:xfrm>
            <a:off x="2925763" y="5224463"/>
            <a:ext cx="0" cy="881062"/>
          </a:xfrm>
          <a:prstGeom prst="line">
            <a:avLst/>
          </a:prstGeom>
          <a:noFill/>
          <a:ln w="9525">
            <a:solidFill>
              <a:schemeClr val="bg2"/>
            </a:solidFill>
            <a:round/>
            <a:headEnd/>
            <a:tailEnd/>
          </a:ln>
        </p:spPr>
        <p:txBody>
          <a:bodyPr/>
          <a:lstStyle/>
          <a:p>
            <a:endParaRPr lang="en-US"/>
          </a:p>
        </p:txBody>
      </p:sp>
      <p:sp>
        <p:nvSpPr>
          <p:cNvPr id="50210" name="Line 60"/>
          <p:cNvSpPr>
            <a:spLocks noChangeShapeType="1"/>
          </p:cNvSpPr>
          <p:nvPr/>
        </p:nvSpPr>
        <p:spPr bwMode="gray">
          <a:xfrm>
            <a:off x="2971800" y="5497513"/>
            <a:ext cx="685800" cy="228600"/>
          </a:xfrm>
          <a:prstGeom prst="line">
            <a:avLst/>
          </a:prstGeom>
          <a:noFill/>
          <a:ln w="9525">
            <a:solidFill>
              <a:schemeClr val="bg2"/>
            </a:solidFill>
            <a:round/>
            <a:headEnd/>
            <a:tailEnd/>
          </a:ln>
        </p:spPr>
        <p:txBody>
          <a:bodyPr/>
          <a:lstStyle/>
          <a:p>
            <a:endParaRPr lang="en-US"/>
          </a:p>
        </p:txBody>
      </p:sp>
      <p:sp>
        <p:nvSpPr>
          <p:cNvPr id="50211" name="Freeform 18"/>
          <p:cNvSpPr>
            <a:spLocks noChangeAspect="1"/>
          </p:cNvSpPr>
          <p:nvPr/>
        </p:nvSpPr>
        <p:spPr bwMode="gray">
          <a:xfrm>
            <a:off x="6248400" y="3022600"/>
            <a:ext cx="1066800" cy="1944688"/>
          </a:xfrm>
          <a:custGeom>
            <a:avLst/>
            <a:gdLst>
              <a:gd name="T0" fmla="*/ 2147483647 w 528"/>
              <a:gd name="T1" fmla="*/ 2147483647 h 991"/>
              <a:gd name="T2" fmla="*/ 2147483647 w 528"/>
              <a:gd name="T3" fmla="*/ 2147483647 h 991"/>
              <a:gd name="T4" fmla="*/ 2147483647 w 528"/>
              <a:gd name="T5" fmla="*/ 2147483647 h 991"/>
              <a:gd name="T6" fmla="*/ 2147483647 w 528"/>
              <a:gd name="T7" fmla="*/ 2147483647 h 991"/>
              <a:gd name="T8" fmla="*/ 2147483647 w 528"/>
              <a:gd name="T9" fmla="*/ 2147483647 h 991"/>
              <a:gd name="T10" fmla="*/ 2147483647 w 528"/>
              <a:gd name="T11" fmla="*/ 2147483647 h 991"/>
              <a:gd name="T12" fmla="*/ 2147483647 w 528"/>
              <a:gd name="T13" fmla="*/ 2147483647 h 991"/>
              <a:gd name="T14" fmla="*/ 2147483647 w 528"/>
              <a:gd name="T15" fmla="*/ 2147483647 h 991"/>
              <a:gd name="T16" fmla="*/ 2147483647 w 528"/>
              <a:gd name="T17" fmla="*/ 2147483647 h 991"/>
              <a:gd name="T18" fmla="*/ 2147483647 w 528"/>
              <a:gd name="T19" fmla="*/ 2147483647 h 991"/>
              <a:gd name="T20" fmla="*/ 2147483647 w 528"/>
              <a:gd name="T21" fmla="*/ 2147483647 h 991"/>
              <a:gd name="T22" fmla="*/ 2147483647 w 528"/>
              <a:gd name="T23" fmla="*/ 2147483647 h 991"/>
              <a:gd name="T24" fmla="*/ 2147483647 w 528"/>
              <a:gd name="T25" fmla="*/ 2147483647 h 991"/>
              <a:gd name="T26" fmla="*/ 2147483647 w 528"/>
              <a:gd name="T27" fmla="*/ 2147483647 h 991"/>
              <a:gd name="T28" fmla="*/ 2147483647 w 528"/>
              <a:gd name="T29" fmla="*/ 2147483647 h 991"/>
              <a:gd name="T30" fmla="*/ 2147483647 w 528"/>
              <a:gd name="T31" fmla="*/ 2147483647 h 991"/>
              <a:gd name="T32" fmla="*/ 2147483647 w 528"/>
              <a:gd name="T33" fmla="*/ 2147483647 h 991"/>
              <a:gd name="T34" fmla="*/ 2147483647 w 528"/>
              <a:gd name="T35" fmla="*/ 2147483647 h 991"/>
              <a:gd name="T36" fmla="*/ 2147483647 w 528"/>
              <a:gd name="T37" fmla="*/ 2147483647 h 991"/>
              <a:gd name="T38" fmla="*/ 2147483647 w 528"/>
              <a:gd name="T39" fmla="*/ 2147483647 h 991"/>
              <a:gd name="T40" fmla="*/ 2147483647 w 528"/>
              <a:gd name="T41" fmla="*/ 2147483647 h 991"/>
              <a:gd name="T42" fmla="*/ 2147483647 w 528"/>
              <a:gd name="T43" fmla="*/ 2147483647 h 991"/>
              <a:gd name="T44" fmla="*/ 2147483647 w 528"/>
              <a:gd name="T45" fmla="*/ 2147483647 h 991"/>
              <a:gd name="T46" fmla="*/ 2147483647 w 528"/>
              <a:gd name="T47" fmla="*/ 2147483647 h 991"/>
              <a:gd name="T48" fmla="*/ 2147483647 w 528"/>
              <a:gd name="T49" fmla="*/ 2147483647 h 991"/>
              <a:gd name="T50" fmla="*/ 2147483647 w 528"/>
              <a:gd name="T51" fmla="*/ 2147483647 h 991"/>
              <a:gd name="T52" fmla="*/ 2147483647 w 528"/>
              <a:gd name="T53" fmla="*/ 2147483647 h 991"/>
              <a:gd name="T54" fmla="*/ 2147483647 w 528"/>
              <a:gd name="T55" fmla="*/ 2147483647 h 991"/>
              <a:gd name="T56" fmla="*/ 2147483647 w 528"/>
              <a:gd name="T57" fmla="*/ 2147483647 h 991"/>
              <a:gd name="T58" fmla="*/ 2147483647 w 528"/>
              <a:gd name="T59" fmla="*/ 2147483647 h 991"/>
              <a:gd name="T60" fmla="*/ 2147483647 w 528"/>
              <a:gd name="T61" fmla="*/ 2147483647 h 991"/>
              <a:gd name="T62" fmla="*/ 2147483647 w 528"/>
              <a:gd name="T63" fmla="*/ 2147483647 h 991"/>
              <a:gd name="T64" fmla="*/ 2147483647 w 528"/>
              <a:gd name="T65" fmla="*/ 2147483647 h 991"/>
              <a:gd name="T66" fmla="*/ 2147483647 w 528"/>
              <a:gd name="T67" fmla="*/ 2147483647 h 991"/>
              <a:gd name="T68" fmla="*/ 2147483647 w 528"/>
              <a:gd name="T69" fmla="*/ 2147483647 h 991"/>
              <a:gd name="T70" fmla="*/ 2147483647 w 528"/>
              <a:gd name="T71" fmla="*/ 2147483647 h 991"/>
              <a:gd name="T72" fmla="*/ 2147483647 w 528"/>
              <a:gd name="T73" fmla="*/ 2147483647 h 991"/>
              <a:gd name="T74" fmla="*/ 2147483647 w 528"/>
              <a:gd name="T75" fmla="*/ 2147483647 h 991"/>
              <a:gd name="T76" fmla="*/ 2147483647 w 528"/>
              <a:gd name="T77" fmla="*/ 2147483647 h 991"/>
              <a:gd name="T78" fmla="*/ 2147483647 w 528"/>
              <a:gd name="T79" fmla="*/ 2147483647 h 991"/>
              <a:gd name="T80" fmla="*/ 2147483647 w 528"/>
              <a:gd name="T81" fmla="*/ 2147483647 h 991"/>
              <a:gd name="T82" fmla="*/ 2147483647 w 528"/>
              <a:gd name="T83" fmla="*/ 2147483647 h 991"/>
              <a:gd name="T84" fmla="*/ 2147483647 w 528"/>
              <a:gd name="T85" fmla="*/ 2147483647 h 991"/>
              <a:gd name="T86" fmla="*/ 2147483647 w 528"/>
              <a:gd name="T87" fmla="*/ 2147483647 h 991"/>
              <a:gd name="T88" fmla="*/ 2147483647 w 528"/>
              <a:gd name="T89" fmla="*/ 2147483647 h 991"/>
              <a:gd name="T90" fmla="*/ 2147483647 w 528"/>
              <a:gd name="T91" fmla="*/ 2147483647 h 991"/>
              <a:gd name="T92" fmla="*/ 2147483647 w 528"/>
              <a:gd name="T93" fmla="*/ 2147483647 h 991"/>
              <a:gd name="T94" fmla="*/ 2147483647 w 528"/>
              <a:gd name="T95" fmla="*/ 2147483647 h 991"/>
              <a:gd name="T96" fmla="*/ 2147483647 w 528"/>
              <a:gd name="T97" fmla="*/ 2147483647 h 991"/>
              <a:gd name="T98" fmla="*/ 2147483647 w 528"/>
              <a:gd name="T99" fmla="*/ 2147483647 h 991"/>
              <a:gd name="T100" fmla="*/ 2147483647 w 528"/>
              <a:gd name="T101" fmla="*/ 2147483647 h 991"/>
              <a:gd name="T102" fmla="*/ 2147483647 w 528"/>
              <a:gd name="T103" fmla="*/ 2147483647 h 991"/>
              <a:gd name="T104" fmla="*/ 2147483647 w 528"/>
              <a:gd name="T105" fmla="*/ 2147483647 h 991"/>
              <a:gd name="T106" fmla="*/ 2147483647 w 528"/>
              <a:gd name="T107" fmla="*/ 2147483647 h 991"/>
              <a:gd name="T108" fmla="*/ 2147483647 w 528"/>
              <a:gd name="T109" fmla="*/ 2147483647 h 991"/>
              <a:gd name="T110" fmla="*/ 2147483647 w 528"/>
              <a:gd name="T111" fmla="*/ 2147483647 h 99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8"/>
              <a:gd name="T169" fmla="*/ 0 h 991"/>
              <a:gd name="T170" fmla="*/ 528 w 528"/>
              <a:gd name="T171" fmla="*/ 991 h 99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8" h="991">
                <a:moveTo>
                  <a:pt x="32" y="852"/>
                </a:moveTo>
                <a:lnTo>
                  <a:pt x="35" y="991"/>
                </a:lnTo>
                <a:lnTo>
                  <a:pt x="79" y="990"/>
                </a:lnTo>
                <a:lnTo>
                  <a:pt x="97" y="929"/>
                </a:lnTo>
                <a:lnTo>
                  <a:pt x="189" y="902"/>
                </a:lnTo>
                <a:lnTo>
                  <a:pt x="250" y="944"/>
                </a:lnTo>
                <a:lnTo>
                  <a:pt x="318" y="904"/>
                </a:lnTo>
                <a:lnTo>
                  <a:pt x="315" y="833"/>
                </a:lnTo>
                <a:lnTo>
                  <a:pt x="365" y="780"/>
                </a:lnTo>
                <a:lnTo>
                  <a:pt x="434" y="790"/>
                </a:lnTo>
                <a:lnTo>
                  <a:pt x="482" y="715"/>
                </a:lnTo>
                <a:lnTo>
                  <a:pt x="441" y="656"/>
                </a:lnTo>
                <a:lnTo>
                  <a:pt x="468" y="560"/>
                </a:lnTo>
                <a:lnTo>
                  <a:pt x="528" y="551"/>
                </a:lnTo>
                <a:lnTo>
                  <a:pt x="528" y="547"/>
                </a:lnTo>
                <a:lnTo>
                  <a:pt x="528" y="543"/>
                </a:lnTo>
                <a:lnTo>
                  <a:pt x="528" y="541"/>
                </a:lnTo>
                <a:lnTo>
                  <a:pt x="528" y="537"/>
                </a:lnTo>
                <a:lnTo>
                  <a:pt x="528" y="534"/>
                </a:lnTo>
                <a:lnTo>
                  <a:pt x="528" y="530"/>
                </a:lnTo>
                <a:lnTo>
                  <a:pt x="528" y="528"/>
                </a:lnTo>
                <a:lnTo>
                  <a:pt x="528" y="526"/>
                </a:lnTo>
                <a:lnTo>
                  <a:pt x="528" y="522"/>
                </a:lnTo>
                <a:lnTo>
                  <a:pt x="528" y="518"/>
                </a:lnTo>
                <a:lnTo>
                  <a:pt x="528" y="516"/>
                </a:lnTo>
                <a:lnTo>
                  <a:pt x="528" y="512"/>
                </a:lnTo>
                <a:lnTo>
                  <a:pt x="528" y="506"/>
                </a:lnTo>
                <a:lnTo>
                  <a:pt x="528" y="500"/>
                </a:lnTo>
                <a:lnTo>
                  <a:pt x="528" y="497"/>
                </a:lnTo>
                <a:lnTo>
                  <a:pt x="528" y="493"/>
                </a:lnTo>
                <a:lnTo>
                  <a:pt x="528" y="491"/>
                </a:lnTo>
                <a:lnTo>
                  <a:pt x="528" y="488"/>
                </a:lnTo>
                <a:lnTo>
                  <a:pt x="528" y="485"/>
                </a:lnTo>
                <a:lnTo>
                  <a:pt x="528" y="481"/>
                </a:lnTo>
                <a:lnTo>
                  <a:pt x="528" y="479"/>
                </a:lnTo>
                <a:lnTo>
                  <a:pt x="528" y="475"/>
                </a:lnTo>
                <a:lnTo>
                  <a:pt x="528" y="469"/>
                </a:lnTo>
                <a:lnTo>
                  <a:pt x="528" y="463"/>
                </a:lnTo>
                <a:lnTo>
                  <a:pt x="528" y="457"/>
                </a:lnTo>
                <a:lnTo>
                  <a:pt x="528" y="451"/>
                </a:lnTo>
                <a:lnTo>
                  <a:pt x="467" y="433"/>
                </a:lnTo>
                <a:lnTo>
                  <a:pt x="441" y="341"/>
                </a:lnTo>
                <a:lnTo>
                  <a:pt x="483" y="280"/>
                </a:lnTo>
                <a:lnTo>
                  <a:pt x="443" y="212"/>
                </a:lnTo>
                <a:lnTo>
                  <a:pt x="373" y="216"/>
                </a:lnTo>
                <a:lnTo>
                  <a:pt x="320" y="165"/>
                </a:lnTo>
                <a:lnTo>
                  <a:pt x="328" y="96"/>
                </a:lnTo>
                <a:lnTo>
                  <a:pt x="253" y="48"/>
                </a:lnTo>
                <a:lnTo>
                  <a:pt x="195" y="90"/>
                </a:lnTo>
                <a:lnTo>
                  <a:pt x="98" y="62"/>
                </a:lnTo>
                <a:lnTo>
                  <a:pt x="89" y="3"/>
                </a:lnTo>
                <a:lnTo>
                  <a:pt x="31" y="0"/>
                </a:lnTo>
                <a:lnTo>
                  <a:pt x="0" y="64"/>
                </a:lnTo>
                <a:lnTo>
                  <a:pt x="34" y="138"/>
                </a:lnTo>
                <a:lnTo>
                  <a:pt x="35" y="138"/>
                </a:lnTo>
                <a:lnTo>
                  <a:pt x="37" y="138"/>
                </a:lnTo>
                <a:lnTo>
                  <a:pt x="40" y="138"/>
                </a:lnTo>
                <a:lnTo>
                  <a:pt x="43" y="138"/>
                </a:lnTo>
                <a:lnTo>
                  <a:pt x="48" y="138"/>
                </a:lnTo>
                <a:lnTo>
                  <a:pt x="53" y="138"/>
                </a:lnTo>
                <a:lnTo>
                  <a:pt x="59" y="139"/>
                </a:lnTo>
                <a:lnTo>
                  <a:pt x="62" y="139"/>
                </a:lnTo>
                <a:lnTo>
                  <a:pt x="65" y="139"/>
                </a:lnTo>
                <a:lnTo>
                  <a:pt x="68" y="139"/>
                </a:lnTo>
                <a:lnTo>
                  <a:pt x="72" y="140"/>
                </a:lnTo>
                <a:lnTo>
                  <a:pt x="76" y="140"/>
                </a:lnTo>
                <a:lnTo>
                  <a:pt x="79" y="141"/>
                </a:lnTo>
                <a:lnTo>
                  <a:pt x="84" y="141"/>
                </a:lnTo>
                <a:lnTo>
                  <a:pt x="88" y="143"/>
                </a:lnTo>
                <a:lnTo>
                  <a:pt x="91" y="143"/>
                </a:lnTo>
                <a:lnTo>
                  <a:pt x="96" y="144"/>
                </a:lnTo>
                <a:lnTo>
                  <a:pt x="100" y="145"/>
                </a:lnTo>
                <a:lnTo>
                  <a:pt x="106" y="146"/>
                </a:lnTo>
                <a:lnTo>
                  <a:pt x="109" y="147"/>
                </a:lnTo>
                <a:lnTo>
                  <a:pt x="114" y="149"/>
                </a:lnTo>
                <a:lnTo>
                  <a:pt x="119" y="150"/>
                </a:lnTo>
                <a:lnTo>
                  <a:pt x="123" y="151"/>
                </a:lnTo>
                <a:lnTo>
                  <a:pt x="128" y="151"/>
                </a:lnTo>
                <a:lnTo>
                  <a:pt x="133" y="152"/>
                </a:lnTo>
                <a:lnTo>
                  <a:pt x="138" y="155"/>
                </a:lnTo>
                <a:lnTo>
                  <a:pt x="144" y="156"/>
                </a:lnTo>
                <a:lnTo>
                  <a:pt x="149" y="157"/>
                </a:lnTo>
                <a:lnTo>
                  <a:pt x="153" y="159"/>
                </a:lnTo>
                <a:lnTo>
                  <a:pt x="158" y="161"/>
                </a:lnTo>
                <a:lnTo>
                  <a:pt x="164" y="163"/>
                </a:lnTo>
                <a:lnTo>
                  <a:pt x="169" y="164"/>
                </a:lnTo>
                <a:lnTo>
                  <a:pt x="174" y="167"/>
                </a:lnTo>
                <a:lnTo>
                  <a:pt x="180" y="169"/>
                </a:lnTo>
                <a:lnTo>
                  <a:pt x="185" y="171"/>
                </a:lnTo>
                <a:lnTo>
                  <a:pt x="189" y="174"/>
                </a:lnTo>
                <a:lnTo>
                  <a:pt x="195" y="176"/>
                </a:lnTo>
                <a:lnTo>
                  <a:pt x="200" y="178"/>
                </a:lnTo>
                <a:lnTo>
                  <a:pt x="206" y="182"/>
                </a:lnTo>
                <a:lnTo>
                  <a:pt x="211" y="184"/>
                </a:lnTo>
                <a:lnTo>
                  <a:pt x="217" y="188"/>
                </a:lnTo>
                <a:lnTo>
                  <a:pt x="222" y="190"/>
                </a:lnTo>
                <a:lnTo>
                  <a:pt x="226" y="194"/>
                </a:lnTo>
                <a:lnTo>
                  <a:pt x="231" y="198"/>
                </a:lnTo>
                <a:lnTo>
                  <a:pt x="237" y="200"/>
                </a:lnTo>
                <a:lnTo>
                  <a:pt x="242" y="205"/>
                </a:lnTo>
                <a:lnTo>
                  <a:pt x="247" y="208"/>
                </a:lnTo>
                <a:lnTo>
                  <a:pt x="252" y="212"/>
                </a:lnTo>
                <a:lnTo>
                  <a:pt x="256" y="216"/>
                </a:lnTo>
                <a:lnTo>
                  <a:pt x="261" y="220"/>
                </a:lnTo>
                <a:lnTo>
                  <a:pt x="266" y="225"/>
                </a:lnTo>
                <a:lnTo>
                  <a:pt x="271" y="229"/>
                </a:lnTo>
                <a:lnTo>
                  <a:pt x="276" y="234"/>
                </a:lnTo>
                <a:lnTo>
                  <a:pt x="280" y="238"/>
                </a:lnTo>
                <a:lnTo>
                  <a:pt x="285" y="244"/>
                </a:lnTo>
                <a:lnTo>
                  <a:pt x="289" y="248"/>
                </a:lnTo>
                <a:lnTo>
                  <a:pt x="292" y="250"/>
                </a:lnTo>
                <a:lnTo>
                  <a:pt x="297" y="254"/>
                </a:lnTo>
                <a:lnTo>
                  <a:pt x="301" y="259"/>
                </a:lnTo>
                <a:lnTo>
                  <a:pt x="304" y="261"/>
                </a:lnTo>
                <a:lnTo>
                  <a:pt x="308" y="266"/>
                </a:lnTo>
                <a:lnTo>
                  <a:pt x="312" y="269"/>
                </a:lnTo>
                <a:lnTo>
                  <a:pt x="315" y="273"/>
                </a:lnTo>
                <a:lnTo>
                  <a:pt x="318" y="277"/>
                </a:lnTo>
                <a:lnTo>
                  <a:pt x="320" y="281"/>
                </a:lnTo>
                <a:lnTo>
                  <a:pt x="323" y="285"/>
                </a:lnTo>
                <a:lnTo>
                  <a:pt x="327" y="289"/>
                </a:lnTo>
                <a:lnTo>
                  <a:pt x="329" y="293"/>
                </a:lnTo>
                <a:lnTo>
                  <a:pt x="332" y="297"/>
                </a:lnTo>
                <a:lnTo>
                  <a:pt x="335" y="301"/>
                </a:lnTo>
                <a:lnTo>
                  <a:pt x="338" y="305"/>
                </a:lnTo>
                <a:lnTo>
                  <a:pt x="340" y="309"/>
                </a:lnTo>
                <a:lnTo>
                  <a:pt x="343" y="314"/>
                </a:lnTo>
                <a:lnTo>
                  <a:pt x="345" y="317"/>
                </a:lnTo>
                <a:lnTo>
                  <a:pt x="347" y="322"/>
                </a:lnTo>
                <a:lnTo>
                  <a:pt x="349" y="326"/>
                </a:lnTo>
                <a:lnTo>
                  <a:pt x="351" y="330"/>
                </a:lnTo>
                <a:lnTo>
                  <a:pt x="353" y="334"/>
                </a:lnTo>
                <a:lnTo>
                  <a:pt x="356" y="339"/>
                </a:lnTo>
                <a:lnTo>
                  <a:pt x="358" y="344"/>
                </a:lnTo>
                <a:lnTo>
                  <a:pt x="359" y="347"/>
                </a:lnTo>
                <a:lnTo>
                  <a:pt x="362" y="352"/>
                </a:lnTo>
                <a:lnTo>
                  <a:pt x="363" y="357"/>
                </a:lnTo>
                <a:lnTo>
                  <a:pt x="365" y="360"/>
                </a:lnTo>
                <a:lnTo>
                  <a:pt x="367" y="365"/>
                </a:lnTo>
                <a:lnTo>
                  <a:pt x="369" y="370"/>
                </a:lnTo>
                <a:lnTo>
                  <a:pt x="370" y="374"/>
                </a:lnTo>
                <a:lnTo>
                  <a:pt x="371" y="378"/>
                </a:lnTo>
                <a:lnTo>
                  <a:pt x="373" y="382"/>
                </a:lnTo>
                <a:lnTo>
                  <a:pt x="374" y="386"/>
                </a:lnTo>
                <a:lnTo>
                  <a:pt x="375" y="390"/>
                </a:lnTo>
                <a:lnTo>
                  <a:pt x="376" y="395"/>
                </a:lnTo>
                <a:lnTo>
                  <a:pt x="377" y="399"/>
                </a:lnTo>
                <a:lnTo>
                  <a:pt x="379" y="403"/>
                </a:lnTo>
                <a:lnTo>
                  <a:pt x="380" y="408"/>
                </a:lnTo>
                <a:lnTo>
                  <a:pt x="381" y="412"/>
                </a:lnTo>
                <a:lnTo>
                  <a:pt x="382" y="415"/>
                </a:lnTo>
                <a:lnTo>
                  <a:pt x="382" y="420"/>
                </a:lnTo>
                <a:lnTo>
                  <a:pt x="383" y="424"/>
                </a:lnTo>
                <a:lnTo>
                  <a:pt x="385" y="429"/>
                </a:lnTo>
                <a:lnTo>
                  <a:pt x="386" y="432"/>
                </a:lnTo>
                <a:lnTo>
                  <a:pt x="386" y="436"/>
                </a:lnTo>
                <a:lnTo>
                  <a:pt x="387" y="441"/>
                </a:lnTo>
                <a:lnTo>
                  <a:pt x="387" y="444"/>
                </a:lnTo>
                <a:lnTo>
                  <a:pt x="387" y="448"/>
                </a:lnTo>
                <a:lnTo>
                  <a:pt x="388" y="451"/>
                </a:lnTo>
                <a:lnTo>
                  <a:pt x="388" y="456"/>
                </a:lnTo>
                <a:lnTo>
                  <a:pt x="389" y="459"/>
                </a:lnTo>
                <a:lnTo>
                  <a:pt x="389" y="463"/>
                </a:lnTo>
                <a:lnTo>
                  <a:pt x="391" y="467"/>
                </a:lnTo>
                <a:lnTo>
                  <a:pt x="391" y="470"/>
                </a:lnTo>
                <a:lnTo>
                  <a:pt x="391" y="474"/>
                </a:lnTo>
                <a:lnTo>
                  <a:pt x="392" y="478"/>
                </a:lnTo>
                <a:lnTo>
                  <a:pt x="392" y="481"/>
                </a:lnTo>
                <a:lnTo>
                  <a:pt x="392" y="485"/>
                </a:lnTo>
                <a:lnTo>
                  <a:pt x="392" y="488"/>
                </a:lnTo>
                <a:lnTo>
                  <a:pt x="393" y="492"/>
                </a:lnTo>
                <a:lnTo>
                  <a:pt x="393" y="496"/>
                </a:lnTo>
                <a:lnTo>
                  <a:pt x="394" y="499"/>
                </a:lnTo>
                <a:lnTo>
                  <a:pt x="393" y="500"/>
                </a:lnTo>
                <a:lnTo>
                  <a:pt x="393" y="504"/>
                </a:lnTo>
                <a:lnTo>
                  <a:pt x="393" y="508"/>
                </a:lnTo>
                <a:lnTo>
                  <a:pt x="393" y="512"/>
                </a:lnTo>
                <a:lnTo>
                  <a:pt x="392" y="517"/>
                </a:lnTo>
                <a:lnTo>
                  <a:pt x="391" y="523"/>
                </a:lnTo>
                <a:lnTo>
                  <a:pt x="391" y="526"/>
                </a:lnTo>
                <a:lnTo>
                  <a:pt x="391" y="529"/>
                </a:lnTo>
                <a:lnTo>
                  <a:pt x="389" y="532"/>
                </a:lnTo>
                <a:lnTo>
                  <a:pt x="389" y="535"/>
                </a:lnTo>
                <a:lnTo>
                  <a:pt x="388" y="539"/>
                </a:lnTo>
                <a:lnTo>
                  <a:pt x="388" y="542"/>
                </a:lnTo>
                <a:lnTo>
                  <a:pt x="387" y="545"/>
                </a:lnTo>
                <a:lnTo>
                  <a:pt x="387" y="549"/>
                </a:lnTo>
                <a:lnTo>
                  <a:pt x="386" y="553"/>
                </a:lnTo>
                <a:lnTo>
                  <a:pt x="386" y="557"/>
                </a:lnTo>
                <a:lnTo>
                  <a:pt x="385" y="560"/>
                </a:lnTo>
                <a:lnTo>
                  <a:pt x="385" y="565"/>
                </a:lnTo>
                <a:lnTo>
                  <a:pt x="383" y="569"/>
                </a:lnTo>
                <a:lnTo>
                  <a:pt x="382" y="573"/>
                </a:lnTo>
                <a:lnTo>
                  <a:pt x="381" y="577"/>
                </a:lnTo>
                <a:lnTo>
                  <a:pt x="380" y="582"/>
                </a:lnTo>
                <a:lnTo>
                  <a:pt x="379" y="585"/>
                </a:lnTo>
                <a:lnTo>
                  <a:pt x="377" y="590"/>
                </a:lnTo>
                <a:lnTo>
                  <a:pt x="376" y="595"/>
                </a:lnTo>
                <a:lnTo>
                  <a:pt x="375" y="600"/>
                </a:lnTo>
                <a:lnTo>
                  <a:pt x="374" y="603"/>
                </a:lnTo>
                <a:lnTo>
                  <a:pt x="373" y="608"/>
                </a:lnTo>
                <a:lnTo>
                  <a:pt x="370" y="613"/>
                </a:lnTo>
                <a:lnTo>
                  <a:pt x="369" y="618"/>
                </a:lnTo>
                <a:lnTo>
                  <a:pt x="367" y="622"/>
                </a:lnTo>
                <a:lnTo>
                  <a:pt x="365" y="627"/>
                </a:lnTo>
                <a:lnTo>
                  <a:pt x="363" y="631"/>
                </a:lnTo>
                <a:lnTo>
                  <a:pt x="362" y="637"/>
                </a:lnTo>
                <a:lnTo>
                  <a:pt x="359" y="642"/>
                </a:lnTo>
                <a:lnTo>
                  <a:pt x="357" y="645"/>
                </a:lnTo>
                <a:lnTo>
                  <a:pt x="355" y="650"/>
                </a:lnTo>
                <a:lnTo>
                  <a:pt x="353" y="655"/>
                </a:lnTo>
                <a:lnTo>
                  <a:pt x="351" y="660"/>
                </a:lnTo>
                <a:lnTo>
                  <a:pt x="349" y="664"/>
                </a:lnTo>
                <a:lnTo>
                  <a:pt x="346" y="669"/>
                </a:lnTo>
                <a:lnTo>
                  <a:pt x="344" y="675"/>
                </a:lnTo>
                <a:lnTo>
                  <a:pt x="340" y="679"/>
                </a:lnTo>
                <a:lnTo>
                  <a:pt x="338" y="683"/>
                </a:lnTo>
                <a:lnTo>
                  <a:pt x="334" y="688"/>
                </a:lnTo>
                <a:lnTo>
                  <a:pt x="332" y="693"/>
                </a:lnTo>
                <a:lnTo>
                  <a:pt x="328" y="698"/>
                </a:lnTo>
                <a:lnTo>
                  <a:pt x="325" y="703"/>
                </a:lnTo>
                <a:lnTo>
                  <a:pt x="321" y="706"/>
                </a:lnTo>
                <a:lnTo>
                  <a:pt x="319" y="712"/>
                </a:lnTo>
                <a:lnTo>
                  <a:pt x="315" y="716"/>
                </a:lnTo>
                <a:lnTo>
                  <a:pt x="312" y="721"/>
                </a:lnTo>
                <a:lnTo>
                  <a:pt x="307" y="725"/>
                </a:lnTo>
                <a:lnTo>
                  <a:pt x="303" y="729"/>
                </a:lnTo>
                <a:lnTo>
                  <a:pt x="300" y="734"/>
                </a:lnTo>
                <a:lnTo>
                  <a:pt x="295" y="739"/>
                </a:lnTo>
                <a:lnTo>
                  <a:pt x="291" y="742"/>
                </a:lnTo>
                <a:lnTo>
                  <a:pt x="288" y="747"/>
                </a:lnTo>
                <a:lnTo>
                  <a:pt x="285" y="747"/>
                </a:lnTo>
                <a:lnTo>
                  <a:pt x="283" y="751"/>
                </a:lnTo>
                <a:lnTo>
                  <a:pt x="280" y="752"/>
                </a:lnTo>
                <a:lnTo>
                  <a:pt x="278" y="755"/>
                </a:lnTo>
                <a:lnTo>
                  <a:pt x="274" y="759"/>
                </a:lnTo>
                <a:lnTo>
                  <a:pt x="271" y="762"/>
                </a:lnTo>
                <a:lnTo>
                  <a:pt x="266" y="765"/>
                </a:lnTo>
                <a:lnTo>
                  <a:pt x="261" y="770"/>
                </a:lnTo>
                <a:lnTo>
                  <a:pt x="255" y="773"/>
                </a:lnTo>
                <a:lnTo>
                  <a:pt x="250" y="778"/>
                </a:lnTo>
                <a:lnTo>
                  <a:pt x="247" y="780"/>
                </a:lnTo>
                <a:lnTo>
                  <a:pt x="243" y="783"/>
                </a:lnTo>
                <a:lnTo>
                  <a:pt x="241" y="785"/>
                </a:lnTo>
                <a:lnTo>
                  <a:pt x="237" y="788"/>
                </a:lnTo>
                <a:lnTo>
                  <a:pt x="234" y="790"/>
                </a:lnTo>
                <a:lnTo>
                  <a:pt x="230" y="792"/>
                </a:lnTo>
                <a:lnTo>
                  <a:pt x="226" y="795"/>
                </a:lnTo>
                <a:lnTo>
                  <a:pt x="223" y="798"/>
                </a:lnTo>
                <a:lnTo>
                  <a:pt x="218" y="800"/>
                </a:lnTo>
                <a:lnTo>
                  <a:pt x="214" y="802"/>
                </a:lnTo>
                <a:lnTo>
                  <a:pt x="210" y="804"/>
                </a:lnTo>
                <a:lnTo>
                  <a:pt x="206" y="807"/>
                </a:lnTo>
                <a:lnTo>
                  <a:pt x="201" y="809"/>
                </a:lnTo>
                <a:lnTo>
                  <a:pt x="197" y="812"/>
                </a:lnTo>
                <a:lnTo>
                  <a:pt x="192" y="814"/>
                </a:lnTo>
                <a:lnTo>
                  <a:pt x="187" y="816"/>
                </a:lnTo>
                <a:lnTo>
                  <a:pt x="182" y="819"/>
                </a:lnTo>
                <a:lnTo>
                  <a:pt x="176" y="821"/>
                </a:lnTo>
                <a:lnTo>
                  <a:pt x="171" y="823"/>
                </a:lnTo>
                <a:lnTo>
                  <a:pt x="167" y="825"/>
                </a:lnTo>
                <a:lnTo>
                  <a:pt x="161" y="827"/>
                </a:lnTo>
                <a:lnTo>
                  <a:pt x="155" y="829"/>
                </a:lnTo>
                <a:lnTo>
                  <a:pt x="149" y="832"/>
                </a:lnTo>
                <a:lnTo>
                  <a:pt x="144" y="834"/>
                </a:lnTo>
                <a:lnTo>
                  <a:pt x="137" y="835"/>
                </a:lnTo>
                <a:lnTo>
                  <a:pt x="131" y="838"/>
                </a:lnTo>
                <a:lnTo>
                  <a:pt x="125" y="839"/>
                </a:lnTo>
                <a:lnTo>
                  <a:pt x="119" y="840"/>
                </a:lnTo>
                <a:lnTo>
                  <a:pt x="111" y="841"/>
                </a:lnTo>
                <a:lnTo>
                  <a:pt x="104" y="844"/>
                </a:lnTo>
                <a:lnTo>
                  <a:pt x="98" y="845"/>
                </a:lnTo>
                <a:lnTo>
                  <a:pt x="91" y="846"/>
                </a:lnTo>
                <a:lnTo>
                  <a:pt x="84" y="847"/>
                </a:lnTo>
                <a:lnTo>
                  <a:pt x="77" y="849"/>
                </a:lnTo>
                <a:lnTo>
                  <a:pt x="70" y="850"/>
                </a:lnTo>
                <a:lnTo>
                  <a:pt x="62" y="850"/>
                </a:lnTo>
                <a:lnTo>
                  <a:pt x="54" y="851"/>
                </a:lnTo>
                <a:lnTo>
                  <a:pt x="47" y="851"/>
                </a:lnTo>
                <a:lnTo>
                  <a:pt x="40" y="852"/>
                </a:lnTo>
                <a:lnTo>
                  <a:pt x="32" y="852"/>
                </a:lnTo>
                <a:close/>
              </a:path>
            </a:pathLst>
          </a:custGeom>
          <a:solidFill>
            <a:srgbClr val="EAEAEA"/>
          </a:solidFill>
          <a:ln w="9525">
            <a:noFill/>
            <a:round/>
            <a:headEnd/>
            <a:tailEnd/>
          </a:ln>
        </p:spPr>
        <p:txBody>
          <a:bodyPr/>
          <a:lstStyle/>
          <a:p>
            <a:endParaRPr lang="en-US"/>
          </a:p>
        </p:txBody>
      </p:sp>
      <p:sp>
        <p:nvSpPr>
          <p:cNvPr id="50212" name="Freeform 19"/>
          <p:cNvSpPr>
            <a:spLocks noChangeAspect="1"/>
          </p:cNvSpPr>
          <p:nvPr/>
        </p:nvSpPr>
        <p:spPr bwMode="gray">
          <a:xfrm>
            <a:off x="5319713" y="3022600"/>
            <a:ext cx="1052512" cy="1949450"/>
          </a:xfrm>
          <a:custGeom>
            <a:avLst/>
            <a:gdLst>
              <a:gd name="T0" fmla="*/ 2147483647 w 523"/>
              <a:gd name="T1" fmla="*/ 2147483647 h 992"/>
              <a:gd name="T2" fmla="*/ 2147483647 w 523"/>
              <a:gd name="T3" fmla="*/ 2147483647 h 992"/>
              <a:gd name="T4" fmla="*/ 2147483647 w 523"/>
              <a:gd name="T5" fmla="*/ 2147483647 h 992"/>
              <a:gd name="T6" fmla="*/ 0 w 523"/>
              <a:gd name="T7" fmla="*/ 2147483647 h 992"/>
              <a:gd name="T8" fmla="*/ 0 w 523"/>
              <a:gd name="T9" fmla="*/ 2147483647 h 992"/>
              <a:gd name="T10" fmla="*/ 0 w 523"/>
              <a:gd name="T11" fmla="*/ 2147483647 h 992"/>
              <a:gd name="T12" fmla="*/ 0 w 523"/>
              <a:gd name="T13" fmla="*/ 2147483647 h 992"/>
              <a:gd name="T14" fmla="*/ 2147483647 w 523"/>
              <a:gd name="T15" fmla="*/ 2147483647 h 992"/>
              <a:gd name="T16" fmla="*/ 2147483647 w 523"/>
              <a:gd name="T17" fmla="*/ 2147483647 h 992"/>
              <a:gd name="T18" fmla="*/ 2147483647 w 523"/>
              <a:gd name="T19" fmla="*/ 2147483647 h 992"/>
              <a:gd name="T20" fmla="*/ 2147483647 w 523"/>
              <a:gd name="T21" fmla="*/ 2147483647 h 992"/>
              <a:gd name="T22" fmla="*/ 2147483647 w 523"/>
              <a:gd name="T23" fmla="*/ 2147483647 h 992"/>
              <a:gd name="T24" fmla="*/ 2147483647 w 523"/>
              <a:gd name="T25" fmla="*/ 2147483647 h 992"/>
              <a:gd name="T26" fmla="*/ 2147483647 w 523"/>
              <a:gd name="T27" fmla="*/ 2147483647 h 992"/>
              <a:gd name="T28" fmla="*/ 2147483647 w 523"/>
              <a:gd name="T29" fmla="*/ 2147483647 h 992"/>
              <a:gd name="T30" fmla="*/ 2147483647 w 523"/>
              <a:gd name="T31" fmla="*/ 2147483647 h 992"/>
              <a:gd name="T32" fmla="*/ 2147483647 w 523"/>
              <a:gd name="T33" fmla="*/ 2147483647 h 992"/>
              <a:gd name="T34" fmla="*/ 2147483647 w 523"/>
              <a:gd name="T35" fmla="*/ 2147483647 h 992"/>
              <a:gd name="T36" fmla="*/ 2147483647 w 523"/>
              <a:gd name="T37" fmla="*/ 2147483647 h 992"/>
              <a:gd name="T38" fmla="*/ 2147483647 w 523"/>
              <a:gd name="T39" fmla="*/ 2147483647 h 992"/>
              <a:gd name="T40" fmla="*/ 2147483647 w 523"/>
              <a:gd name="T41" fmla="*/ 2147483647 h 992"/>
              <a:gd name="T42" fmla="*/ 2147483647 w 523"/>
              <a:gd name="T43" fmla="*/ 2147483647 h 992"/>
              <a:gd name="T44" fmla="*/ 2147483647 w 523"/>
              <a:gd name="T45" fmla="*/ 2147483647 h 992"/>
              <a:gd name="T46" fmla="*/ 2147483647 w 523"/>
              <a:gd name="T47" fmla="*/ 2147483647 h 992"/>
              <a:gd name="T48" fmla="*/ 2147483647 w 523"/>
              <a:gd name="T49" fmla="*/ 2147483647 h 992"/>
              <a:gd name="T50" fmla="*/ 2147483647 w 523"/>
              <a:gd name="T51" fmla="*/ 2147483647 h 992"/>
              <a:gd name="T52" fmla="*/ 2147483647 w 523"/>
              <a:gd name="T53" fmla="*/ 2147483647 h 992"/>
              <a:gd name="T54" fmla="*/ 2147483647 w 523"/>
              <a:gd name="T55" fmla="*/ 2147483647 h 992"/>
              <a:gd name="T56" fmla="*/ 2147483647 w 523"/>
              <a:gd name="T57" fmla="*/ 2147483647 h 992"/>
              <a:gd name="T58" fmla="*/ 2147483647 w 523"/>
              <a:gd name="T59" fmla="*/ 2147483647 h 992"/>
              <a:gd name="T60" fmla="*/ 2147483647 w 523"/>
              <a:gd name="T61" fmla="*/ 2147483647 h 992"/>
              <a:gd name="T62" fmla="*/ 2147483647 w 523"/>
              <a:gd name="T63" fmla="*/ 2147483647 h 992"/>
              <a:gd name="T64" fmla="*/ 2147483647 w 523"/>
              <a:gd name="T65" fmla="*/ 2147483647 h 992"/>
              <a:gd name="T66" fmla="*/ 2147483647 w 523"/>
              <a:gd name="T67" fmla="*/ 2147483647 h 992"/>
              <a:gd name="T68" fmla="*/ 2147483647 w 523"/>
              <a:gd name="T69" fmla="*/ 2147483647 h 992"/>
              <a:gd name="T70" fmla="*/ 2147483647 w 523"/>
              <a:gd name="T71" fmla="*/ 2147483647 h 992"/>
              <a:gd name="T72" fmla="*/ 2147483647 w 523"/>
              <a:gd name="T73" fmla="*/ 2147483647 h 992"/>
              <a:gd name="T74" fmla="*/ 2147483647 w 523"/>
              <a:gd name="T75" fmla="*/ 2147483647 h 992"/>
              <a:gd name="T76" fmla="*/ 2147483647 w 523"/>
              <a:gd name="T77" fmla="*/ 2147483647 h 992"/>
              <a:gd name="T78" fmla="*/ 2147483647 w 523"/>
              <a:gd name="T79" fmla="*/ 2147483647 h 992"/>
              <a:gd name="T80" fmla="*/ 2147483647 w 523"/>
              <a:gd name="T81" fmla="*/ 2147483647 h 992"/>
              <a:gd name="T82" fmla="*/ 2147483647 w 523"/>
              <a:gd name="T83" fmla="*/ 2147483647 h 992"/>
              <a:gd name="T84" fmla="*/ 2147483647 w 523"/>
              <a:gd name="T85" fmla="*/ 2147483647 h 992"/>
              <a:gd name="T86" fmla="*/ 2147483647 w 523"/>
              <a:gd name="T87" fmla="*/ 2147483647 h 992"/>
              <a:gd name="T88" fmla="*/ 2147483647 w 523"/>
              <a:gd name="T89" fmla="*/ 2147483647 h 992"/>
              <a:gd name="T90" fmla="*/ 2147483647 w 523"/>
              <a:gd name="T91" fmla="*/ 2147483647 h 992"/>
              <a:gd name="T92" fmla="*/ 2147483647 w 523"/>
              <a:gd name="T93" fmla="*/ 2147483647 h 992"/>
              <a:gd name="T94" fmla="*/ 2147483647 w 523"/>
              <a:gd name="T95" fmla="*/ 2147483647 h 992"/>
              <a:gd name="T96" fmla="*/ 2147483647 w 523"/>
              <a:gd name="T97" fmla="*/ 2147483647 h 992"/>
              <a:gd name="T98" fmla="*/ 2147483647 w 523"/>
              <a:gd name="T99" fmla="*/ 2147483647 h 992"/>
              <a:gd name="T100" fmla="*/ 2147483647 w 523"/>
              <a:gd name="T101" fmla="*/ 2147483647 h 992"/>
              <a:gd name="T102" fmla="*/ 2147483647 w 523"/>
              <a:gd name="T103" fmla="*/ 2147483647 h 992"/>
              <a:gd name="T104" fmla="*/ 2147483647 w 523"/>
              <a:gd name="T105" fmla="*/ 2147483647 h 9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3"/>
              <a:gd name="T160" fmla="*/ 0 h 992"/>
              <a:gd name="T161" fmla="*/ 523 w 523"/>
              <a:gd name="T162" fmla="*/ 992 h 9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3" h="992">
                <a:moveTo>
                  <a:pt x="500" y="139"/>
                </a:moveTo>
                <a:lnTo>
                  <a:pt x="497" y="0"/>
                </a:lnTo>
                <a:lnTo>
                  <a:pt x="453" y="1"/>
                </a:lnTo>
                <a:lnTo>
                  <a:pt x="435" y="63"/>
                </a:lnTo>
                <a:lnTo>
                  <a:pt x="341" y="89"/>
                </a:lnTo>
                <a:lnTo>
                  <a:pt x="281" y="48"/>
                </a:lnTo>
                <a:lnTo>
                  <a:pt x="213" y="86"/>
                </a:lnTo>
                <a:lnTo>
                  <a:pt x="217" y="158"/>
                </a:lnTo>
                <a:lnTo>
                  <a:pt x="166" y="212"/>
                </a:lnTo>
                <a:lnTo>
                  <a:pt x="96" y="201"/>
                </a:lnTo>
                <a:lnTo>
                  <a:pt x="49" y="276"/>
                </a:lnTo>
                <a:lnTo>
                  <a:pt x="91" y="335"/>
                </a:lnTo>
                <a:lnTo>
                  <a:pt x="63" y="424"/>
                </a:lnTo>
                <a:lnTo>
                  <a:pt x="2" y="440"/>
                </a:lnTo>
                <a:lnTo>
                  <a:pt x="1" y="445"/>
                </a:lnTo>
                <a:lnTo>
                  <a:pt x="1" y="450"/>
                </a:lnTo>
                <a:lnTo>
                  <a:pt x="0" y="456"/>
                </a:lnTo>
                <a:lnTo>
                  <a:pt x="0" y="462"/>
                </a:lnTo>
                <a:lnTo>
                  <a:pt x="0" y="468"/>
                </a:lnTo>
                <a:lnTo>
                  <a:pt x="0" y="474"/>
                </a:lnTo>
                <a:lnTo>
                  <a:pt x="0" y="477"/>
                </a:lnTo>
                <a:lnTo>
                  <a:pt x="0" y="481"/>
                </a:lnTo>
                <a:lnTo>
                  <a:pt x="0" y="483"/>
                </a:lnTo>
                <a:lnTo>
                  <a:pt x="0" y="487"/>
                </a:lnTo>
                <a:lnTo>
                  <a:pt x="0" y="491"/>
                </a:lnTo>
                <a:lnTo>
                  <a:pt x="0" y="494"/>
                </a:lnTo>
                <a:lnTo>
                  <a:pt x="0" y="497"/>
                </a:lnTo>
                <a:lnTo>
                  <a:pt x="0" y="500"/>
                </a:lnTo>
                <a:lnTo>
                  <a:pt x="0" y="504"/>
                </a:lnTo>
                <a:lnTo>
                  <a:pt x="0" y="507"/>
                </a:lnTo>
                <a:lnTo>
                  <a:pt x="0" y="511"/>
                </a:lnTo>
                <a:lnTo>
                  <a:pt x="0" y="515"/>
                </a:lnTo>
                <a:lnTo>
                  <a:pt x="0" y="518"/>
                </a:lnTo>
                <a:lnTo>
                  <a:pt x="0" y="521"/>
                </a:lnTo>
                <a:lnTo>
                  <a:pt x="0" y="524"/>
                </a:lnTo>
                <a:lnTo>
                  <a:pt x="1" y="528"/>
                </a:lnTo>
                <a:lnTo>
                  <a:pt x="1" y="531"/>
                </a:lnTo>
                <a:lnTo>
                  <a:pt x="1" y="535"/>
                </a:lnTo>
                <a:lnTo>
                  <a:pt x="2" y="538"/>
                </a:lnTo>
                <a:lnTo>
                  <a:pt x="2" y="542"/>
                </a:lnTo>
                <a:lnTo>
                  <a:pt x="63" y="559"/>
                </a:lnTo>
                <a:lnTo>
                  <a:pt x="88" y="652"/>
                </a:lnTo>
                <a:lnTo>
                  <a:pt x="48" y="711"/>
                </a:lnTo>
                <a:lnTo>
                  <a:pt x="86" y="780"/>
                </a:lnTo>
                <a:lnTo>
                  <a:pt x="158" y="777"/>
                </a:lnTo>
                <a:lnTo>
                  <a:pt x="212" y="826"/>
                </a:lnTo>
                <a:lnTo>
                  <a:pt x="201" y="897"/>
                </a:lnTo>
                <a:lnTo>
                  <a:pt x="278" y="944"/>
                </a:lnTo>
                <a:lnTo>
                  <a:pt x="334" y="903"/>
                </a:lnTo>
                <a:lnTo>
                  <a:pt x="431" y="931"/>
                </a:lnTo>
                <a:lnTo>
                  <a:pt x="442" y="988"/>
                </a:lnTo>
                <a:lnTo>
                  <a:pt x="497" y="992"/>
                </a:lnTo>
                <a:lnTo>
                  <a:pt x="523" y="935"/>
                </a:lnTo>
                <a:lnTo>
                  <a:pt x="496" y="853"/>
                </a:lnTo>
                <a:lnTo>
                  <a:pt x="494" y="853"/>
                </a:lnTo>
                <a:lnTo>
                  <a:pt x="493" y="853"/>
                </a:lnTo>
                <a:lnTo>
                  <a:pt x="491" y="853"/>
                </a:lnTo>
                <a:lnTo>
                  <a:pt x="488" y="853"/>
                </a:lnTo>
                <a:lnTo>
                  <a:pt x="484" y="852"/>
                </a:lnTo>
                <a:lnTo>
                  <a:pt x="479" y="852"/>
                </a:lnTo>
                <a:lnTo>
                  <a:pt x="474" y="852"/>
                </a:lnTo>
                <a:lnTo>
                  <a:pt x="469" y="852"/>
                </a:lnTo>
                <a:lnTo>
                  <a:pt x="466" y="851"/>
                </a:lnTo>
                <a:lnTo>
                  <a:pt x="462" y="851"/>
                </a:lnTo>
                <a:lnTo>
                  <a:pt x="459" y="851"/>
                </a:lnTo>
                <a:lnTo>
                  <a:pt x="455" y="850"/>
                </a:lnTo>
                <a:lnTo>
                  <a:pt x="451" y="850"/>
                </a:lnTo>
                <a:lnTo>
                  <a:pt x="448" y="848"/>
                </a:lnTo>
                <a:lnTo>
                  <a:pt x="444" y="848"/>
                </a:lnTo>
                <a:lnTo>
                  <a:pt x="441" y="848"/>
                </a:lnTo>
                <a:lnTo>
                  <a:pt x="436" y="847"/>
                </a:lnTo>
                <a:lnTo>
                  <a:pt x="432" y="846"/>
                </a:lnTo>
                <a:lnTo>
                  <a:pt x="427" y="845"/>
                </a:lnTo>
                <a:lnTo>
                  <a:pt x="424" y="844"/>
                </a:lnTo>
                <a:lnTo>
                  <a:pt x="419" y="842"/>
                </a:lnTo>
                <a:lnTo>
                  <a:pt x="414" y="842"/>
                </a:lnTo>
                <a:lnTo>
                  <a:pt x="409" y="841"/>
                </a:lnTo>
                <a:lnTo>
                  <a:pt x="405" y="840"/>
                </a:lnTo>
                <a:lnTo>
                  <a:pt x="400" y="839"/>
                </a:lnTo>
                <a:lnTo>
                  <a:pt x="395" y="838"/>
                </a:lnTo>
                <a:lnTo>
                  <a:pt x="390" y="836"/>
                </a:lnTo>
                <a:lnTo>
                  <a:pt x="384" y="835"/>
                </a:lnTo>
                <a:lnTo>
                  <a:pt x="379" y="833"/>
                </a:lnTo>
                <a:lnTo>
                  <a:pt x="375" y="832"/>
                </a:lnTo>
                <a:lnTo>
                  <a:pt x="369" y="829"/>
                </a:lnTo>
                <a:lnTo>
                  <a:pt x="365" y="828"/>
                </a:lnTo>
                <a:lnTo>
                  <a:pt x="359" y="826"/>
                </a:lnTo>
                <a:lnTo>
                  <a:pt x="354" y="823"/>
                </a:lnTo>
                <a:lnTo>
                  <a:pt x="348" y="821"/>
                </a:lnTo>
                <a:lnTo>
                  <a:pt x="344" y="820"/>
                </a:lnTo>
                <a:lnTo>
                  <a:pt x="339" y="816"/>
                </a:lnTo>
                <a:lnTo>
                  <a:pt x="334" y="814"/>
                </a:lnTo>
                <a:lnTo>
                  <a:pt x="328" y="813"/>
                </a:lnTo>
                <a:lnTo>
                  <a:pt x="323" y="810"/>
                </a:lnTo>
                <a:lnTo>
                  <a:pt x="317" y="807"/>
                </a:lnTo>
                <a:lnTo>
                  <a:pt x="312" y="803"/>
                </a:lnTo>
                <a:lnTo>
                  <a:pt x="308" y="801"/>
                </a:lnTo>
                <a:lnTo>
                  <a:pt x="302" y="797"/>
                </a:lnTo>
                <a:lnTo>
                  <a:pt x="297" y="793"/>
                </a:lnTo>
                <a:lnTo>
                  <a:pt x="292" y="790"/>
                </a:lnTo>
                <a:lnTo>
                  <a:pt x="286" y="787"/>
                </a:lnTo>
                <a:lnTo>
                  <a:pt x="282" y="784"/>
                </a:lnTo>
                <a:lnTo>
                  <a:pt x="276" y="779"/>
                </a:lnTo>
                <a:lnTo>
                  <a:pt x="272" y="775"/>
                </a:lnTo>
                <a:lnTo>
                  <a:pt x="267" y="772"/>
                </a:lnTo>
                <a:lnTo>
                  <a:pt x="262" y="767"/>
                </a:lnTo>
                <a:lnTo>
                  <a:pt x="257" y="763"/>
                </a:lnTo>
                <a:lnTo>
                  <a:pt x="254" y="759"/>
                </a:lnTo>
                <a:lnTo>
                  <a:pt x="249" y="754"/>
                </a:lnTo>
                <a:lnTo>
                  <a:pt x="245" y="749"/>
                </a:lnTo>
                <a:lnTo>
                  <a:pt x="243" y="748"/>
                </a:lnTo>
                <a:lnTo>
                  <a:pt x="239" y="744"/>
                </a:lnTo>
                <a:lnTo>
                  <a:pt x="237" y="742"/>
                </a:lnTo>
                <a:lnTo>
                  <a:pt x="235" y="740"/>
                </a:lnTo>
                <a:lnTo>
                  <a:pt x="231" y="736"/>
                </a:lnTo>
                <a:lnTo>
                  <a:pt x="229" y="734"/>
                </a:lnTo>
                <a:lnTo>
                  <a:pt x="224" y="729"/>
                </a:lnTo>
                <a:lnTo>
                  <a:pt x="220" y="724"/>
                </a:lnTo>
                <a:lnTo>
                  <a:pt x="215" y="718"/>
                </a:lnTo>
                <a:lnTo>
                  <a:pt x="212" y="713"/>
                </a:lnTo>
                <a:lnTo>
                  <a:pt x="209" y="710"/>
                </a:lnTo>
                <a:lnTo>
                  <a:pt x="207" y="706"/>
                </a:lnTo>
                <a:lnTo>
                  <a:pt x="205" y="704"/>
                </a:lnTo>
                <a:lnTo>
                  <a:pt x="202" y="700"/>
                </a:lnTo>
                <a:lnTo>
                  <a:pt x="200" y="696"/>
                </a:lnTo>
                <a:lnTo>
                  <a:pt x="197" y="693"/>
                </a:lnTo>
                <a:lnTo>
                  <a:pt x="195" y="689"/>
                </a:lnTo>
                <a:lnTo>
                  <a:pt x="193" y="686"/>
                </a:lnTo>
                <a:lnTo>
                  <a:pt x="190" y="681"/>
                </a:lnTo>
                <a:lnTo>
                  <a:pt x="188" y="677"/>
                </a:lnTo>
                <a:lnTo>
                  <a:pt x="185" y="673"/>
                </a:lnTo>
                <a:lnTo>
                  <a:pt x="183" y="668"/>
                </a:lnTo>
                <a:lnTo>
                  <a:pt x="179" y="664"/>
                </a:lnTo>
                <a:lnTo>
                  <a:pt x="178" y="659"/>
                </a:lnTo>
                <a:lnTo>
                  <a:pt x="176" y="653"/>
                </a:lnTo>
                <a:lnTo>
                  <a:pt x="173" y="650"/>
                </a:lnTo>
                <a:lnTo>
                  <a:pt x="171" y="644"/>
                </a:lnTo>
                <a:lnTo>
                  <a:pt x="169" y="639"/>
                </a:lnTo>
                <a:lnTo>
                  <a:pt x="166" y="633"/>
                </a:lnTo>
                <a:lnTo>
                  <a:pt x="165" y="628"/>
                </a:lnTo>
                <a:lnTo>
                  <a:pt x="163" y="622"/>
                </a:lnTo>
                <a:lnTo>
                  <a:pt x="160" y="617"/>
                </a:lnTo>
                <a:lnTo>
                  <a:pt x="158" y="611"/>
                </a:lnTo>
                <a:lnTo>
                  <a:pt x="157" y="606"/>
                </a:lnTo>
                <a:lnTo>
                  <a:pt x="154" y="600"/>
                </a:lnTo>
                <a:lnTo>
                  <a:pt x="153" y="594"/>
                </a:lnTo>
                <a:lnTo>
                  <a:pt x="151" y="588"/>
                </a:lnTo>
                <a:lnTo>
                  <a:pt x="149" y="580"/>
                </a:lnTo>
                <a:lnTo>
                  <a:pt x="147" y="574"/>
                </a:lnTo>
                <a:lnTo>
                  <a:pt x="146" y="567"/>
                </a:lnTo>
                <a:lnTo>
                  <a:pt x="145" y="560"/>
                </a:lnTo>
                <a:lnTo>
                  <a:pt x="144" y="554"/>
                </a:lnTo>
                <a:lnTo>
                  <a:pt x="142" y="547"/>
                </a:lnTo>
                <a:lnTo>
                  <a:pt x="141" y="540"/>
                </a:lnTo>
                <a:lnTo>
                  <a:pt x="140" y="531"/>
                </a:lnTo>
                <a:lnTo>
                  <a:pt x="140" y="525"/>
                </a:lnTo>
                <a:lnTo>
                  <a:pt x="139" y="517"/>
                </a:lnTo>
                <a:lnTo>
                  <a:pt x="138" y="510"/>
                </a:lnTo>
                <a:lnTo>
                  <a:pt x="138" y="501"/>
                </a:lnTo>
                <a:lnTo>
                  <a:pt x="138" y="494"/>
                </a:lnTo>
                <a:lnTo>
                  <a:pt x="138" y="492"/>
                </a:lnTo>
                <a:lnTo>
                  <a:pt x="138" y="489"/>
                </a:lnTo>
                <a:lnTo>
                  <a:pt x="138" y="485"/>
                </a:lnTo>
                <a:lnTo>
                  <a:pt x="138" y="482"/>
                </a:lnTo>
                <a:lnTo>
                  <a:pt x="138" y="476"/>
                </a:lnTo>
                <a:lnTo>
                  <a:pt x="139" y="471"/>
                </a:lnTo>
                <a:lnTo>
                  <a:pt x="139" y="465"/>
                </a:lnTo>
                <a:lnTo>
                  <a:pt x="140" y="460"/>
                </a:lnTo>
                <a:lnTo>
                  <a:pt x="140" y="456"/>
                </a:lnTo>
                <a:lnTo>
                  <a:pt x="141" y="452"/>
                </a:lnTo>
                <a:lnTo>
                  <a:pt x="141" y="449"/>
                </a:lnTo>
                <a:lnTo>
                  <a:pt x="142" y="445"/>
                </a:lnTo>
                <a:lnTo>
                  <a:pt x="142" y="442"/>
                </a:lnTo>
                <a:lnTo>
                  <a:pt x="144" y="437"/>
                </a:lnTo>
                <a:lnTo>
                  <a:pt x="144" y="433"/>
                </a:lnTo>
                <a:lnTo>
                  <a:pt x="145" y="430"/>
                </a:lnTo>
                <a:lnTo>
                  <a:pt x="145" y="425"/>
                </a:lnTo>
                <a:lnTo>
                  <a:pt x="146" y="421"/>
                </a:lnTo>
                <a:lnTo>
                  <a:pt x="147" y="416"/>
                </a:lnTo>
                <a:lnTo>
                  <a:pt x="148" y="413"/>
                </a:lnTo>
                <a:lnTo>
                  <a:pt x="149" y="408"/>
                </a:lnTo>
                <a:lnTo>
                  <a:pt x="151" y="403"/>
                </a:lnTo>
                <a:lnTo>
                  <a:pt x="152" y="398"/>
                </a:lnTo>
                <a:lnTo>
                  <a:pt x="153" y="395"/>
                </a:lnTo>
                <a:lnTo>
                  <a:pt x="154" y="390"/>
                </a:lnTo>
                <a:lnTo>
                  <a:pt x="155" y="385"/>
                </a:lnTo>
                <a:lnTo>
                  <a:pt x="157" y="381"/>
                </a:lnTo>
                <a:lnTo>
                  <a:pt x="158" y="376"/>
                </a:lnTo>
                <a:lnTo>
                  <a:pt x="160" y="371"/>
                </a:lnTo>
                <a:lnTo>
                  <a:pt x="161" y="366"/>
                </a:lnTo>
                <a:lnTo>
                  <a:pt x="164" y="361"/>
                </a:lnTo>
                <a:lnTo>
                  <a:pt x="166" y="357"/>
                </a:lnTo>
                <a:lnTo>
                  <a:pt x="167" y="352"/>
                </a:lnTo>
                <a:lnTo>
                  <a:pt x="170" y="347"/>
                </a:lnTo>
                <a:lnTo>
                  <a:pt x="172" y="341"/>
                </a:lnTo>
                <a:lnTo>
                  <a:pt x="175" y="336"/>
                </a:lnTo>
                <a:lnTo>
                  <a:pt x="177" y="331"/>
                </a:lnTo>
                <a:lnTo>
                  <a:pt x="179" y="327"/>
                </a:lnTo>
                <a:lnTo>
                  <a:pt x="182" y="322"/>
                </a:lnTo>
                <a:lnTo>
                  <a:pt x="185" y="317"/>
                </a:lnTo>
                <a:lnTo>
                  <a:pt x="188" y="312"/>
                </a:lnTo>
                <a:lnTo>
                  <a:pt x="190" y="308"/>
                </a:lnTo>
                <a:lnTo>
                  <a:pt x="193" y="302"/>
                </a:lnTo>
                <a:lnTo>
                  <a:pt x="196" y="298"/>
                </a:lnTo>
                <a:lnTo>
                  <a:pt x="200" y="292"/>
                </a:lnTo>
                <a:lnTo>
                  <a:pt x="202" y="287"/>
                </a:lnTo>
                <a:lnTo>
                  <a:pt x="206" y="284"/>
                </a:lnTo>
                <a:lnTo>
                  <a:pt x="211" y="279"/>
                </a:lnTo>
                <a:lnTo>
                  <a:pt x="214" y="274"/>
                </a:lnTo>
                <a:lnTo>
                  <a:pt x="217" y="269"/>
                </a:lnTo>
                <a:lnTo>
                  <a:pt x="221" y="264"/>
                </a:lnTo>
                <a:lnTo>
                  <a:pt x="226" y="261"/>
                </a:lnTo>
                <a:lnTo>
                  <a:pt x="230" y="256"/>
                </a:lnTo>
                <a:lnTo>
                  <a:pt x="235" y="251"/>
                </a:lnTo>
                <a:lnTo>
                  <a:pt x="238" y="248"/>
                </a:lnTo>
                <a:lnTo>
                  <a:pt x="244" y="244"/>
                </a:lnTo>
                <a:lnTo>
                  <a:pt x="244" y="242"/>
                </a:lnTo>
                <a:lnTo>
                  <a:pt x="248" y="239"/>
                </a:lnTo>
                <a:lnTo>
                  <a:pt x="249" y="237"/>
                </a:lnTo>
                <a:lnTo>
                  <a:pt x="252" y="235"/>
                </a:lnTo>
                <a:lnTo>
                  <a:pt x="255" y="231"/>
                </a:lnTo>
                <a:lnTo>
                  <a:pt x="260" y="227"/>
                </a:lnTo>
                <a:lnTo>
                  <a:pt x="262" y="224"/>
                </a:lnTo>
                <a:lnTo>
                  <a:pt x="268" y="219"/>
                </a:lnTo>
                <a:lnTo>
                  <a:pt x="273" y="215"/>
                </a:lnTo>
                <a:lnTo>
                  <a:pt x="279" y="212"/>
                </a:lnTo>
                <a:lnTo>
                  <a:pt x="281" y="208"/>
                </a:lnTo>
                <a:lnTo>
                  <a:pt x="285" y="206"/>
                </a:lnTo>
                <a:lnTo>
                  <a:pt x="287" y="203"/>
                </a:lnTo>
                <a:lnTo>
                  <a:pt x="292" y="201"/>
                </a:lnTo>
                <a:lnTo>
                  <a:pt x="296" y="199"/>
                </a:lnTo>
                <a:lnTo>
                  <a:pt x="298" y="197"/>
                </a:lnTo>
                <a:lnTo>
                  <a:pt x="303" y="194"/>
                </a:lnTo>
                <a:lnTo>
                  <a:pt x="308" y="193"/>
                </a:lnTo>
                <a:lnTo>
                  <a:pt x="310" y="189"/>
                </a:lnTo>
                <a:lnTo>
                  <a:pt x="315" y="188"/>
                </a:lnTo>
                <a:lnTo>
                  <a:pt x="318" y="184"/>
                </a:lnTo>
                <a:lnTo>
                  <a:pt x="323" y="182"/>
                </a:lnTo>
                <a:lnTo>
                  <a:pt x="328" y="179"/>
                </a:lnTo>
                <a:lnTo>
                  <a:pt x="333" y="177"/>
                </a:lnTo>
                <a:lnTo>
                  <a:pt x="338" y="175"/>
                </a:lnTo>
                <a:lnTo>
                  <a:pt x="342" y="174"/>
                </a:lnTo>
                <a:lnTo>
                  <a:pt x="347" y="170"/>
                </a:lnTo>
                <a:lnTo>
                  <a:pt x="352" y="168"/>
                </a:lnTo>
                <a:lnTo>
                  <a:pt x="358" y="165"/>
                </a:lnTo>
                <a:lnTo>
                  <a:pt x="363" y="164"/>
                </a:lnTo>
                <a:lnTo>
                  <a:pt x="369" y="162"/>
                </a:lnTo>
                <a:lnTo>
                  <a:pt x="375" y="160"/>
                </a:lnTo>
                <a:lnTo>
                  <a:pt x="381" y="158"/>
                </a:lnTo>
                <a:lnTo>
                  <a:pt x="387" y="157"/>
                </a:lnTo>
                <a:lnTo>
                  <a:pt x="393" y="154"/>
                </a:lnTo>
                <a:lnTo>
                  <a:pt x="399" y="152"/>
                </a:lnTo>
                <a:lnTo>
                  <a:pt x="405" y="151"/>
                </a:lnTo>
                <a:lnTo>
                  <a:pt x="412" y="150"/>
                </a:lnTo>
                <a:lnTo>
                  <a:pt x="418" y="147"/>
                </a:lnTo>
                <a:lnTo>
                  <a:pt x="425" y="146"/>
                </a:lnTo>
                <a:lnTo>
                  <a:pt x="431" y="145"/>
                </a:lnTo>
                <a:lnTo>
                  <a:pt x="439" y="144"/>
                </a:lnTo>
                <a:lnTo>
                  <a:pt x="445" y="142"/>
                </a:lnTo>
                <a:lnTo>
                  <a:pt x="453" y="141"/>
                </a:lnTo>
                <a:lnTo>
                  <a:pt x="460" y="140"/>
                </a:lnTo>
                <a:lnTo>
                  <a:pt x="468" y="140"/>
                </a:lnTo>
                <a:lnTo>
                  <a:pt x="475" y="139"/>
                </a:lnTo>
                <a:lnTo>
                  <a:pt x="484" y="139"/>
                </a:lnTo>
                <a:lnTo>
                  <a:pt x="491" y="139"/>
                </a:lnTo>
                <a:lnTo>
                  <a:pt x="500" y="139"/>
                </a:lnTo>
                <a:close/>
              </a:path>
            </a:pathLst>
          </a:custGeom>
          <a:solidFill>
            <a:srgbClr val="EAEAEA"/>
          </a:solidFill>
          <a:ln w="9525">
            <a:noFill/>
            <a:round/>
            <a:headEnd/>
            <a:tailEnd/>
          </a:ln>
        </p:spPr>
        <p:txBody>
          <a:bodyPr/>
          <a:lstStyle/>
          <a:p>
            <a:endParaRPr lang="en-US"/>
          </a:p>
        </p:txBody>
      </p:sp>
      <p:sp>
        <p:nvSpPr>
          <p:cNvPr id="50213" name="Oval 38"/>
          <p:cNvSpPr>
            <a:spLocks noChangeArrowheads="1"/>
          </p:cNvSpPr>
          <p:nvPr/>
        </p:nvSpPr>
        <p:spPr bwMode="gray">
          <a:xfrm>
            <a:off x="5514975" y="3219450"/>
            <a:ext cx="1595438" cy="1571625"/>
          </a:xfrm>
          <a:prstGeom prst="ellipse">
            <a:avLst/>
          </a:prstGeom>
          <a:solidFill>
            <a:srgbClr val="EAEAEA"/>
          </a:solidFill>
          <a:ln w="28575">
            <a:solidFill>
              <a:srgbClr val="DDDDDD"/>
            </a:solidFill>
            <a:round/>
            <a:headEnd/>
            <a:tailEnd/>
          </a:ln>
        </p:spPr>
        <p:txBody>
          <a:bodyPr/>
          <a:lstStyle/>
          <a:p>
            <a:endParaRPr lang="en-US"/>
          </a:p>
        </p:txBody>
      </p:sp>
      <p:sp>
        <p:nvSpPr>
          <p:cNvPr id="50214" name="Text Box 42"/>
          <p:cNvSpPr txBox="1">
            <a:spLocks noChangeArrowheads="1"/>
          </p:cNvSpPr>
          <p:nvPr/>
        </p:nvSpPr>
        <p:spPr bwMode="gray">
          <a:xfrm>
            <a:off x="5532438" y="3305175"/>
            <a:ext cx="1495425" cy="1527175"/>
          </a:xfrm>
          <a:prstGeom prst="rect">
            <a:avLst/>
          </a:prstGeom>
          <a:noFill/>
          <a:ln w="12700">
            <a:noFill/>
            <a:miter lim="800000"/>
            <a:headEnd/>
            <a:tailEnd/>
          </a:ln>
        </p:spPr>
        <p:txBody>
          <a:bodyPr anchor="ctr"/>
          <a:lstStyle/>
          <a:p>
            <a:pPr algn="ctr" eaLnBrk="0" hangingPunct="0">
              <a:buClr>
                <a:schemeClr val="accent2"/>
              </a:buClr>
              <a:buFont typeface="Symbol" pitchFamily="18" charset="2"/>
              <a:buNone/>
            </a:pPr>
            <a:r>
              <a:rPr lang="en-US" sz="1600" b="1"/>
              <a:t>Operational Metrics</a:t>
            </a:r>
            <a:endParaRPr lang="en-US" sz="1000"/>
          </a:p>
        </p:txBody>
      </p:sp>
      <p:sp>
        <p:nvSpPr>
          <p:cNvPr id="50215" name="Line 50"/>
          <p:cNvSpPr>
            <a:spLocks noChangeShapeType="1"/>
          </p:cNvSpPr>
          <p:nvPr/>
        </p:nvSpPr>
        <p:spPr bwMode="gray">
          <a:xfrm>
            <a:off x="1741488" y="2257425"/>
            <a:ext cx="7937" cy="884238"/>
          </a:xfrm>
          <a:prstGeom prst="line">
            <a:avLst/>
          </a:prstGeom>
          <a:noFill/>
          <a:ln w="9525">
            <a:solidFill>
              <a:schemeClr val="bg2"/>
            </a:solidFill>
            <a:round/>
            <a:headEnd/>
            <a:tailEnd/>
          </a:ln>
        </p:spPr>
        <p:txBody>
          <a:bodyPr/>
          <a:lstStyle/>
          <a:p>
            <a:endParaRPr lang="en-US"/>
          </a:p>
        </p:txBody>
      </p:sp>
      <p:sp>
        <p:nvSpPr>
          <p:cNvPr id="50216" name="Line 60"/>
          <p:cNvSpPr>
            <a:spLocks noChangeShapeType="1"/>
          </p:cNvSpPr>
          <p:nvPr/>
        </p:nvSpPr>
        <p:spPr bwMode="gray">
          <a:xfrm>
            <a:off x="5105400" y="1611313"/>
            <a:ext cx="685800" cy="228600"/>
          </a:xfrm>
          <a:prstGeom prst="line">
            <a:avLst/>
          </a:prstGeom>
          <a:noFill/>
          <a:ln w="9525">
            <a:solidFill>
              <a:schemeClr val="bg2"/>
            </a:solidFill>
            <a:round/>
            <a:headEnd/>
            <a:tailEnd/>
          </a:ln>
        </p:spPr>
        <p:txBody>
          <a:bodyPr/>
          <a:lstStyle/>
          <a:p>
            <a:endParaRPr lang="en-US"/>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A8B72214-C323-496B-A514-EF4363A94FB1}" type="slidenum">
              <a:rPr lang="en-US" sz="800"/>
              <a:pPr/>
              <a:t>12</a:t>
            </a:fld>
            <a:endParaRPr lang="en-US" sz="800"/>
          </a:p>
        </p:txBody>
      </p:sp>
      <p:sp>
        <p:nvSpPr>
          <p:cNvPr id="57346" name="Rectangle 3"/>
          <p:cNvSpPr>
            <a:spLocks noGrp="1" noChangeArrowheads="1"/>
          </p:cNvSpPr>
          <p:nvPr>
            <p:ph type="body" idx="4294967295"/>
          </p:nvPr>
        </p:nvSpPr>
        <p:spPr>
          <a:xfrm>
            <a:off x="1476375" y="1539875"/>
            <a:ext cx="7392988" cy="4937125"/>
          </a:xfrm>
        </p:spPr>
        <p:txBody>
          <a:bodyPr/>
          <a:lstStyle/>
          <a:p>
            <a:pPr eaLnBrk="1" hangingPunct="1"/>
            <a:endParaRPr lang="de-DE" smtClean="0"/>
          </a:p>
          <a:p>
            <a:pPr eaLnBrk="1" hangingPunct="1"/>
            <a:endParaRPr lang="de-DE" smtClean="0"/>
          </a:p>
          <a:p>
            <a:pPr eaLnBrk="1" hangingPunct="1"/>
            <a:endParaRPr lang="de-DE" smtClean="0"/>
          </a:p>
          <a:p>
            <a:pPr eaLnBrk="1" hangingPunct="1"/>
            <a:endParaRPr lang="de-DE" smtClean="0"/>
          </a:p>
          <a:p>
            <a:pPr marL="688975" lvl="1" indent="-342900" eaLnBrk="1" hangingPunct="1">
              <a:buClr>
                <a:srgbClr val="FFC000"/>
              </a:buClr>
              <a:buFont typeface="Arial" charset="0"/>
              <a:buNone/>
            </a:pPr>
            <a:r>
              <a:rPr lang="en-US" smtClean="0"/>
              <a:t>Information Technology Assessment</a:t>
            </a:r>
          </a:p>
          <a:p>
            <a:pPr marL="688975" lvl="1" indent="-342900" eaLnBrk="1" hangingPunct="1">
              <a:buClr>
                <a:srgbClr val="FFC000"/>
              </a:buClr>
              <a:buFont typeface="Arial" charset="0"/>
              <a:buNone/>
            </a:pPr>
            <a:r>
              <a:rPr lang="en-US" smtClean="0">
                <a:solidFill>
                  <a:schemeClr val="bg2"/>
                </a:solidFill>
              </a:rPr>
              <a:t>Financial Management</a:t>
            </a:r>
          </a:p>
          <a:p>
            <a:pPr marL="688975" lvl="1" indent="-342900" eaLnBrk="1" hangingPunct="1">
              <a:buClr>
                <a:srgbClr val="FFC000"/>
              </a:buClr>
              <a:buFont typeface="Arial" charset="0"/>
              <a:buNone/>
            </a:pPr>
            <a:r>
              <a:rPr lang="en-US" smtClean="0">
                <a:solidFill>
                  <a:schemeClr val="bg2"/>
                </a:solidFill>
              </a:rPr>
              <a:t>Operational Data Collection and Analysis</a:t>
            </a:r>
          </a:p>
        </p:txBody>
      </p:sp>
      <p:grpSp>
        <p:nvGrpSpPr>
          <p:cNvPr id="57347" name="Group 4"/>
          <p:cNvGrpSpPr>
            <a:grpSpLocks/>
          </p:cNvGrpSpPr>
          <p:nvPr/>
        </p:nvGrpSpPr>
        <p:grpSpPr bwMode="auto">
          <a:xfrm>
            <a:off x="0" y="1412875"/>
            <a:ext cx="8869363" cy="503238"/>
            <a:chOff x="0" y="1071"/>
            <a:chExt cx="5587" cy="317"/>
          </a:xfrm>
        </p:grpSpPr>
        <p:sp>
          <p:nvSpPr>
            <p:cNvPr id="57371" name="Oval 5"/>
            <p:cNvSpPr>
              <a:spLocks noChangeArrowheads="1"/>
            </p:cNvSpPr>
            <p:nvPr>
              <p:custDataLst>
                <p:tags r:id="rId9"/>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1</a:t>
              </a:r>
            </a:p>
          </p:txBody>
        </p:sp>
        <p:sp>
          <p:nvSpPr>
            <p:cNvPr id="57372" name="Rectangle 6"/>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57373" name="Rectangle 7"/>
            <p:cNvSpPr>
              <a:spLocks noChangeArrowheads="1"/>
            </p:cNvSpPr>
            <p:nvPr>
              <p:custDataLst>
                <p:tags r:id="rId10"/>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57374" name="Rectangle 8"/>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nalysis and Assessment</a:t>
              </a:r>
              <a:endParaRPr lang="de-DE">
                <a:solidFill>
                  <a:srgbClr val="C0C0C0"/>
                </a:solidFill>
              </a:endParaRPr>
            </a:p>
          </p:txBody>
        </p:sp>
      </p:grpSp>
      <p:grpSp>
        <p:nvGrpSpPr>
          <p:cNvPr id="57348" name="Group 9"/>
          <p:cNvGrpSpPr>
            <a:grpSpLocks/>
          </p:cNvGrpSpPr>
          <p:nvPr/>
        </p:nvGrpSpPr>
        <p:grpSpPr bwMode="auto">
          <a:xfrm>
            <a:off x="0" y="4267200"/>
            <a:ext cx="8869363" cy="503238"/>
            <a:chOff x="0" y="1071"/>
            <a:chExt cx="5587" cy="317"/>
          </a:xfrm>
        </p:grpSpPr>
        <p:sp>
          <p:nvSpPr>
            <p:cNvPr id="57367" name="Oval 10"/>
            <p:cNvSpPr>
              <a:spLocks noChangeArrowheads="1"/>
            </p:cNvSpPr>
            <p:nvPr>
              <p:custDataLst>
                <p:tags r:id="rId7"/>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3</a:t>
              </a:r>
            </a:p>
          </p:txBody>
        </p:sp>
        <p:sp>
          <p:nvSpPr>
            <p:cNvPr id="57368" name="Rectangle 11"/>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57369" name="Rectangle 12"/>
            <p:cNvSpPr>
              <a:spLocks noChangeArrowheads="1"/>
            </p:cNvSpPr>
            <p:nvPr>
              <p:custDataLst>
                <p:tags r:id="rId8"/>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57370" name="Rectangle 13"/>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Design Considerations</a:t>
              </a:r>
            </a:p>
          </p:txBody>
        </p:sp>
      </p:grpSp>
      <p:grpSp>
        <p:nvGrpSpPr>
          <p:cNvPr id="57349" name="Group 14"/>
          <p:cNvGrpSpPr>
            <a:grpSpLocks/>
          </p:cNvGrpSpPr>
          <p:nvPr/>
        </p:nvGrpSpPr>
        <p:grpSpPr bwMode="auto">
          <a:xfrm>
            <a:off x="0" y="2062163"/>
            <a:ext cx="8869363" cy="503237"/>
            <a:chOff x="0" y="1071"/>
            <a:chExt cx="5587" cy="317"/>
          </a:xfrm>
        </p:grpSpPr>
        <p:sp>
          <p:nvSpPr>
            <p:cNvPr id="57363" name="Oval 15"/>
            <p:cNvSpPr>
              <a:spLocks noChangeArrowheads="1"/>
            </p:cNvSpPr>
            <p:nvPr>
              <p:custDataLst>
                <p:tags r:id="rId5"/>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2</a:t>
              </a:r>
            </a:p>
          </p:txBody>
        </p:sp>
        <p:sp>
          <p:nvSpPr>
            <p:cNvPr id="57364" name="Rectangle 16"/>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57365" name="Rectangle 17"/>
            <p:cNvSpPr>
              <a:spLocks noChangeArrowheads="1"/>
            </p:cNvSpPr>
            <p:nvPr>
              <p:custDataLst>
                <p:tags r:id="rId6"/>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57366" name="Rectangle 18"/>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t>Design Recommendations</a:t>
              </a:r>
            </a:p>
          </p:txBody>
        </p:sp>
      </p:grpSp>
      <p:grpSp>
        <p:nvGrpSpPr>
          <p:cNvPr id="57350" name="Group 20"/>
          <p:cNvGrpSpPr>
            <a:grpSpLocks/>
          </p:cNvGrpSpPr>
          <p:nvPr/>
        </p:nvGrpSpPr>
        <p:grpSpPr bwMode="auto">
          <a:xfrm>
            <a:off x="-9525" y="4914900"/>
            <a:ext cx="8869363" cy="503238"/>
            <a:chOff x="0" y="1071"/>
            <a:chExt cx="5587" cy="317"/>
          </a:xfrm>
        </p:grpSpPr>
        <p:sp>
          <p:nvSpPr>
            <p:cNvPr id="57359" name="Oval 21"/>
            <p:cNvSpPr>
              <a:spLocks noChangeArrowheads="1"/>
            </p:cNvSpPr>
            <p:nvPr>
              <p:custDataLst>
                <p:tags r:id="rId3"/>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4</a:t>
              </a:r>
            </a:p>
          </p:txBody>
        </p:sp>
        <p:sp>
          <p:nvSpPr>
            <p:cNvPr id="57360" name="Rectangle 22"/>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57361" name="Rectangle 23"/>
            <p:cNvSpPr>
              <a:spLocks noChangeArrowheads="1"/>
            </p:cNvSpPr>
            <p:nvPr>
              <p:custDataLst>
                <p:tags r:id="rId4"/>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57362" name="Rectangle 24"/>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dditional Reccomendations for Prioritized Projects</a:t>
              </a:r>
            </a:p>
          </p:txBody>
        </p:sp>
      </p:grpSp>
      <p:sp>
        <p:nvSpPr>
          <p:cNvPr id="57351" name="Oval 3"/>
          <p:cNvSpPr>
            <a:spLocks noChangeArrowheads="1"/>
          </p:cNvSpPr>
          <p:nvPr/>
        </p:nvSpPr>
        <p:spPr bwMode="gray">
          <a:xfrm>
            <a:off x="1600200" y="2601913"/>
            <a:ext cx="239713"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1</a:t>
            </a:r>
          </a:p>
        </p:txBody>
      </p:sp>
      <p:sp>
        <p:nvSpPr>
          <p:cNvPr id="57352" name="Oval 3"/>
          <p:cNvSpPr>
            <a:spLocks noChangeArrowheads="1"/>
          </p:cNvSpPr>
          <p:nvPr/>
        </p:nvSpPr>
        <p:spPr bwMode="gray">
          <a:xfrm>
            <a:off x="1600200" y="2852738"/>
            <a:ext cx="239713"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2</a:t>
            </a:r>
          </a:p>
        </p:txBody>
      </p:sp>
      <p:sp>
        <p:nvSpPr>
          <p:cNvPr id="57353" name="Oval 3"/>
          <p:cNvSpPr>
            <a:spLocks noChangeArrowheads="1"/>
          </p:cNvSpPr>
          <p:nvPr/>
        </p:nvSpPr>
        <p:spPr bwMode="gray">
          <a:xfrm>
            <a:off x="1600200" y="3103563"/>
            <a:ext cx="239713"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3</a:t>
            </a:r>
          </a:p>
        </p:txBody>
      </p:sp>
      <p:grpSp>
        <p:nvGrpSpPr>
          <p:cNvPr id="57354" name="Group 18"/>
          <p:cNvGrpSpPr>
            <a:grpSpLocks/>
          </p:cNvGrpSpPr>
          <p:nvPr/>
        </p:nvGrpSpPr>
        <p:grpSpPr bwMode="auto">
          <a:xfrm>
            <a:off x="-42863" y="5611813"/>
            <a:ext cx="8869363" cy="503237"/>
            <a:chOff x="0" y="1071"/>
            <a:chExt cx="5587" cy="317"/>
          </a:xfrm>
        </p:grpSpPr>
        <p:sp>
          <p:nvSpPr>
            <p:cNvPr id="57355" name="Oval 19"/>
            <p:cNvSpPr>
              <a:spLocks noChangeArrowheads="1"/>
            </p:cNvSpPr>
            <p:nvPr>
              <p:custDataLst>
                <p:tags r:id="rId1"/>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5</a:t>
              </a:r>
            </a:p>
          </p:txBody>
        </p:sp>
        <p:sp>
          <p:nvSpPr>
            <p:cNvPr id="57356" name="Rectangle 2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57357" name="Rectangle 21"/>
            <p:cNvSpPr>
              <a:spLocks noChangeArrowheads="1"/>
            </p:cNvSpPr>
            <p:nvPr>
              <p:custDataLst>
                <p:tags r:id="rId2"/>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57358" name="Rectangle 2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ppendix</a:t>
              </a:r>
            </a:p>
          </p:txBody>
        </p:sp>
      </p:gr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17C98FCB-8F80-4075-8240-17E6F5577930}" type="slidenum">
              <a:rPr lang="en-US" sz="800"/>
              <a:pPr/>
              <a:t>13</a:t>
            </a:fld>
            <a:endParaRPr lang="en-US" sz="800"/>
          </a:p>
        </p:txBody>
      </p:sp>
      <p:sp>
        <p:nvSpPr>
          <p:cNvPr id="58370" name="AutoShape 2"/>
          <p:cNvSpPr>
            <a:spLocks noChangeArrowheads="1"/>
          </p:cNvSpPr>
          <p:nvPr/>
        </p:nvSpPr>
        <p:spPr bwMode="auto">
          <a:xfrm>
            <a:off x="860425" y="1508125"/>
            <a:ext cx="7456488" cy="3000375"/>
          </a:xfrm>
          <a:prstGeom prst="roundRect">
            <a:avLst>
              <a:gd name="adj" fmla="val 5690"/>
            </a:avLst>
          </a:prstGeom>
          <a:noFill/>
          <a:ln w="9525">
            <a:solidFill>
              <a:schemeClr val="tx1"/>
            </a:solidFill>
            <a:round/>
            <a:headEnd/>
            <a:tailEnd/>
          </a:ln>
        </p:spPr>
        <p:txBody>
          <a:bodyPr wrap="none" lIns="91436" tIns="45716" rIns="91436" bIns="45716"/>
          <a:lstStyle/>
          <a:p>
            <a:pPr algn="ctr">
              <a:spcBef>
                <a:spcPct val="20000"/>
              </a:spcBef>
              <a:buClr>
                <a:schemeClr val="tx1"/>
              </a:buClr>
              <a:buFont typeface="Wingdings" pitchFamily="2" charset="2"/>
              <a:buNone/>
            </a:pPr>
            <a:endParaRPr lang="de-DE" sz="2000"/>
          </a:p>
        </p:txBody>
      </p:sp>
      <p:sp>
        <p:nvSpPr>
          <p:cNvPr id="58371" name="Oval 3"/>
          <p:cNvSpPr>
            <a:spLocks noChangeArrowheads="1"/>
          </p:cNvSpPr>
          <p:nvPr/>
        </p:nvSpPr>
        <p:spPr bwMode="gray">
          <a:xfrm>
            <a:off x="684213" y="1339850"/>
            <a:ext cx="534987" cy="528638"/>
          </a:xfrm>
          <a:prstGeom prst="ellipse">
            <a:avLst/>
          </a:prstGeom>
          <a:solidFill>
            <a:srgbClr val="FF9933"/>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2800" b="1">
                <a:solidFill>
                  <a:schemeClr val="bg1"/>
                </a:solidFill>
              </a:rPr>
              <a:t>1</a:t>
            </a:r>
          </a:p>
        </p:txBody>
      </p:sp>
      <p:sp>
        <p:nvSpPr>
          <p:cNvPr id="58373" name="Text Box 5"/>
          <p:cNvSpPr txBox="1">
            <a:spLocks noChangeArrowheads="1"/>
          </p:cNvSpPr>
          <p:nvPr/>
        </p:nvSpPr>
        <p:spPr bwMode="auto">
          <a:xfrm>
            <a:off x="1189038" y="2132013"/>
            <a:ext cx="6119812" cy="304800"/>
          </a:xfrm>
          <a:prstGeom prst="rect">
            <a:avLst/>
          </a:prstGeom>
          <a:noFill/>
          <a:ln w="9525">
            <a:noFill/>
            <a:miter lim="800000"/>
            <a:headEnd/>
            <a:tailEnd/>
          </a:ln>
        </p:spPr>
        <p:txBody>
          <a:bodyPr lIns="91436" tIns="45716" rIns="91436" bIns="45716">
            <a:spAutoFit/>
          </a:bodyPr>
          <a:lstStyle/>
          <a:p>
            <a:r>
              <a:rPr lang="en-US" sz="1400" i="1"/>
              <a:t>Overview of the approach and proposed recommendations</a:t>
            </a:r>
          </a:p>
        </p:txBody>
      </p:sp>
      <p:sp>
        <p:nvSpPr>
          <p:cNvPr id="58374" name="Rectangle 6"/>
          <p:cNvSpPr>
            <a:spLocks noChangeArrowheads="1"/>
          </p:cNvSpPr>
          <p:nvPr/>
        </p:nvSpPr>
        <p:spPr bwMode="auto">
          <a:xfrm>
            <a:off x="1220788" y="1670050"/>
            <a:ext cx="4289425" cy="396875"/>
          </a:xfrm>
          <a:prstGeom prst="rect">
            <a:avLst/>
          </a:prstGeom>
          <a:noFill/>
          <a:ln w="9525">
            <a:noFill/>
            <a:miter lim="800000"/>
            <a:headEnd/>
            <a:tailEnd/>
          </a:ln>
        </p:spPr>
        <p:txBody>
          <a:bodyPr wrap="none" lIns="91436" tIns="45716" rIns="91436" bIns="45716">
            <a:spAutoFit/>
          </a:bodyPr>
          <a:lstStyle/>
          <a:p>
            <a:pPr>
              <a:spcBef>
                <a:spcPct val="20000"/>
              </a:spcBef>
              <a:buClr>
                <a:schemeClr val="tx1"/>
              </a:buClr>
              <a:buFont typeface="Wingdings" pitchFamily="2" charset="2"/>
              <a:buNone/>
            </a:pPr>
            <a:r>
              <a:rPr lang="de-DE" sz="2000"/>
              <a:t>Information Technology Assessment</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2"/>
          <p:cNvSpPr>
            <a:spLocks noGrp="1" noChangeArrowheads="1"/>
          </p:cNvSpPr>
          <p:nvPr>
            <p:ph type="title" idx="4294967295"/>
          </p:nvPr>
        </p:nvSpPr>
        <p:spPr/>
        <p:txBody>
          <a:bodyPr/>
          <a:lstStyle/>
          <a:p>
            <a:r>
              <a:rPr lang="en-US" smtClean="0"/>
              <a:t>Information Technology Assessment: Recommendations  </a:t>
            </a:r>
          </a:p>
        </p:txBody>
      </p:sp>
      <p:sp>
        <p:nvSpPr>
          <p:cNvPr id="105475" name="Rectangle 3"/>
          <p:cNvSpPr>
            <a:spLocks noGrp="1" noChangeArrowheads="1"/>
          </p:cNvSpPr>
          <p:nvPr>
            <p:ph type="body" idx="4294967295"/>
          </p:nvPr>
        </p:nvSpPr>
        <p:spPr/>
        <p:txBody>
          <a:bodyPr/>
          <a:lstStyle/>
          <a:p>
            <a:pPr>
              <a:lnSpc>
                <a:spcPct val="110000"/>
              </a:lnSpc>
            </a:pPr>
            <a:r>
              <a:rPr lang="en-US" sz="1600" b="1" smtClean="0">
                <a:solidFill>
                  <a:srgbClr val="000066"/>
                </a:solidFill>
              </a:rPr>
              <a:t>IT Space and Hardware:</a:t>
            </a:r>
            <a:r>
              <a:rPr lang="en-US" sz="1600" b="1" smtClean="0"/>
              <a:t> </a:t>
            </a:r>
            <a:r>
              <a:rPr lang="en-US" sz="1600" smtClean="0"/>
              <a:t>Designate secure area and hardware rack (by IT provider)</a:t>
            </a:r>
            <a:endParaRPr lang="en-US" sz="1600" b="1" smtClean="0"/>
          </a:p>
          <a:p>
            <a:pPr>
              <a:lnSpc>
                <a:spcPct val="110000"/>
              </a:lnSpc>
            </a:pPr>
            <a:r>
              <a:rPr lang="en-US" sz="1600" b="1" smtClean="0">
                <a:solidFill>
                  <a:srgbClr val="000066"/>
                </a:solidFill>
              </a:rPr>
              <a:t>Telephony</a:t>
            </a:r>
            <a:r>
              <a:rPr lang="en-US" sz="1600" smtClean="0">
                <a:solidFill>
                  <a:srgbClr val="000066"/>
                </a:solidFill>
              </a:rPr>
              <a:t>:</a:t>
            </a:r>
            <a:r>
              <a:rPr lang="en-US" sz="1600" smtClean="0"/>
              <a:t> Review integrated solutions offered by Telecom providers in Morocco</a:t>
            </a:r>
            <a:endParaRPr lang="en-US" sz="1600" b="1" smtClean="0"/>
          </a:p>
          <a:p>
            <a:pPr>
              <a:lnSpc>
                <a:spcPct val="110000"/>
              </a:lnSpc>
            </a:pPr>
            <a:r>
              <a:rPr lang="en-US" sz="1600" b="1" smtClean="0">
                <a:solidFill>
                  <a:srgbClr val="000066"/>
                </a:solidFill>
              </a:rPr>
              <a:t>Electricity</a:t>
            </a:r>
            <a:r>
              <a:rPr lang="en-US" sz="1600" smtClean="0">
                <a:solidFill>
                  <a:srgbClr val="000066"/>
                </a:solidFill>
              </a:rPr>
              <a:t>:</a:t>
            </a:r>
            <a:r>
              <a:rPr lang="en-US" sz="1600" smtClean="0"/>
              <a:t> Renew installation via 2 options (by IT provider)</a:t>
            </a:r>
          </a:p>
          <a:p>
            <a:pPr lvl="1">
              <a:lnSpc>
                <a:spcPct val="110000"/>
              </a:lnSpc>
            </a:pPr>
            <a:r>
              <a:rPr lang="en-US" sz="1600" smtClean="0"/>
              <a:t>Power secured network for PC/screens on uninterruptible power supply (UPS) + standard network </a:t>
            </a:r>
          </a:p>
          <a:p>
            <a:pPr lvl="1">
              <a:lnSpc>
                <a:spcPct val="110000"/>
              </a:lnSpc>
            </a:pPr>
            <a:r>
              <a:rPr lang="en-US" sz="1600" smtClean="0"/>
              <a:t>Standard network only</a:t>
            </a:r>
            <a:endParaRPr lang="en-US" sz="1600" b="1" smtClean="0"/>
          </a:p>
          <a:p>
            <a:pPr>
              <a:lnSpc>
                <a:spcPct val="110000"/>
              </a:lnSpc>
            </a:pPr>
            <a:r>
              <a:rPr lang="en-US" sz="1600" b="1" smtClean="0">
                <a:solidFill>
                  <a:srgbClr val="000066"/>
                </a:solidFill>
              </a:rPr>
              <a:t>Network</a:t>
            </a:r>
            <a:r>
              <a:rPr lang="en-US" sz="1600" smtClean="0">
                <a:solidFill>
                  <a:srgbClr val="000066"/>
                </a:solidFill>
              </a:rPr>
              <a:t>:</a:t>
            </a:r>
            <a:r>
              <a:rPr lang="en-US" sz="1600" smtClean="0"/>
              <a:t> Renew installation (by IT provider) </a:t>
            </a:r>
            <a:endParaRPr lang="en-US" sz="1600" b="1" smtClean="0"/>
          </a:p>
          <a:p>
            <a:pPr>
              <a:lnSpc>
                <a:spcPct val="110000"/>
              </a:lnSpc>
            </a:pPr>
            <a:r>
              <a:rPr lang="en-US" sz="1600" b="1" smtClean="0">
                <a:solidFill>
                  <a:srgbClr val="000066"/>
                </a:solidFill>
              </a:rPr>
              <a:t>Security/Backup</a:t>
            </a:r>
            <a:r>
              <a:rPr lang="en-US" sz="1600" smtClean="0">
                <a:solidFill>
                  <a:srgbClr val="000066"/>
                </a:solidFill>
              </a:rPr>
              <a:t>:</a:t>
            </a:r>
            <a:r>
              <a:rPr lang="en-US" sz="1600" smtClean="0"/>
              <a:t> Assess Office 365 features, unified threat management (UTM) in rack, local backup disks and tools in rack (by IT provider and Office 365 for non-profits)</a:t>
            </a:r>
            <a:endParaRPr lang="en-US" sz="1600" b="1" smtClean="0"/>
          </a:p>
          <a:p>
            <a:pPr>
              <a:lnSpc>
                <a:spcPct val="110000"/>
              </a:lnSpc>
            </a:pPr>
            <a:r>
              <a:rPr lang="en-US" sz="1600" b="1" smtClean="0">
                <a:solidFill>
                  <a:srgbClr val="000066"/>
                </a:solidFill>
              </a:rPr>
              <a:t>Licenses</a:t>
            </a:r>
            <a:r>
              <a:rPr lang="en-US" sz="1600" smtClean="0">
                <a:solidFill>
                  <a:srgbClr val="000066"/>
                </a:solidFill>
              </a:rPr>
              <a:t>:</a:t>
            </a:r>
            <a:r>
              <a:rPr lang="en-US" sz="1600" smtClean="0"/>
              <a:t> Evaluate Office 365 for non-profits offering (by IT Analyst Intern)</a:t>
            </a:r>
            <a:endParaRPr lang="en-US" sz="1600" b="1" smtClean="0"/>
          </a:p>
          <a:p>
            <a:pPr>
              <a:lnSpc>
                <a:spcPct val="110000"/>
              </a:lnSpc>
            </a:pPr>
            <a:r>
              <a:rPr lang="en-US" sz="1600" b="1" smtClean="0">
                <a:solidFill>
                  <a:srgbClr val="000066"/>
                </a:solidFill>
              </a:rPr>
              <a:t>Facility Management:</a:t>
            </a:r>
            <a:r>
              <a:rPr lang="en-US" sz="1600" b="1" smtClean="0"/>
              <a:t> </a:t>
            </a:r>
            <a:r>
              <a:rPr lang="en-US" sz="1600" smtClean="0"/>
              <a:t>Consider a service contract agreement, enabling latest technology and security features</a:t>
            </a:r>
            <a:endParaRPr lang="en-US" sz="1600" b="1" smtClean="0"/>
          </a:p>
          <a:p>
            <a:pPr>
              <a:lnSpc>
                <a:spcPct val="110000"/>
              </a:lnSpc>
            </a:pPr>
            <a:r>
              <a:rPr lang="en-US" sz="1600" b="1" smtClean="0">
                <a:solidFill>
                  <a:srgbClr val="000066"/>
                </a:solidFill>
              </a:rPr>
              <a:t>IT Analyst Internship:</a:t>
            </a:r>
            <a:r>
              <a:rPr lang="en-US" sz="1600" b="1" smtClean="0"/>
              <a:t> </a:t>
            </a:r>
            <a:r>
              <a:rPr lang="en-US" sz="1600" smtClean="0"/>
              <a:t>Propose partnership with OFPPT and/or other local universities to support projects such as Office 365 evaluation, collaboration tools feasibility study, MS Access donor database development</a:t>
            </a:r>
          </a:p>
          <a:p>
            <a:pPr lvl="2">
              <a:lnSpc>
                <a:spcPct val="110000"/>
              </a:lnSpc>
            </a:pPr>
            <a:endParaRPr lang="en-US" sz="1600" smtClean="0"/>
          </a:p>
          <a:p>
            <a:pPr lvl="1">
              <a:lnSpc>
                <a:spcPct val="90000"/>
              </a:lnSpc>
              <a:buFont typeface="Arial" charset="0"/>
              <a:buNone/>
            </a:pPr>
            <a:endParaRPr lang="en-US" sz="1600" smtClean="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2F0771EC-5FF9-42FE-9357-C94E417990D3}" type="slidenum">
              <a:rPr lang="en-US" sz="800"/>
              <a:pPr/>
              <a:t>15</a:t>
            </a:fld>
            <a:endParaRPr lang="en-US" sz="800"/>
          </a:p>
        </p:txBody>
      </p:sp>
      <p:sp>
        <p:nvSpPr>
          <p:cNvPr id="62466" name="Rectangle 3"/>
          <p:cNvSpPr>
            <a:spLocks noGrp="1" noChangeArrowheads="1"/>
          </p:cNvSpPr>
          <p:nvPr>
            <p:ph type="body" idx="4294967295"/>
          </p:nvPr>
        </p:nvSpPr>
        <p:spPr>
          <a:xfrm>
            <a:off x="1476375" y="1539875"/>
            <a:ext cx="7392988" cy="4937125"/>
          </a:xfrm>
        </p:spPr>
        <p:txBody>
          <a:bodyPr/>
          <a:lstStyle/>
          <a:p>
            <a:pPr eaLnBrk="1" hangingPunct="1"/>
            <a:endParaRPr lang="de-DE" smtClean="0"/>
          </a:p>
          <a:p>
            <a:pPr eaLnBrk="1" hangingPunct="1"/>
            <a:endParaRPr lang="de-DE" smtClean="0"/>
          </a:p>
          <a:p>
            <a:pPr eaLnBrk="1" hangingPunct="1"/>
            <a:endParaRPr lang="de-DE" smtClean="0"/>
          </a:p>
          <a:p>
            <a:pPr eaLnBrk="1" hangingPunct="1"/>
            <a:endParaRPr lang="de-DE" smtClean="0"/>
          </a:p>
          <a:p>
            <a:pPr marL="688975" lvl="1" indent="-342900" eaLnBrk="1" hangingPunct="1">
              <a:buClr>
                <a:srgbClr val="FFC000"/>
              </a:buClr>
              <a:buFont typeface="Arial" charset="0"/>
              <a:buNone/>
            </a:pPr>
            <a:r>
              <a:rPr lang="en-US" smtClean="0">
                <a:solidFill>
                  <a:schemeClr val="bg2"/>
                </a:solidFill>
              </a:rPr>
              <a:t>Information Technology Assessment</a:t>
            </a:r>
          </a:p>
          <a:p>
            <a:pPr marL="688975" lvl="1" indent="-342900" eaLnBrk="1" hangingPunct="1">
              <a:buClr>
                <a:srgbClr val="FFC000"/>
              </a:buClr>
              <a:buFont typeface="Arial" charset="0"/>
              <a:buNone/>
            </a:pPr>
            <a:r>
              <a:rPr lang="en-US" smtClean="0"/>
              <a:t>Financial Management</a:t>
            </a:r>
          </a:p>
          <a:p>
            <a:pPr marL="688975" lvl="1" indent="-342900" eaLnBrk="1" hangingPunct="1">
              <a:buClr>
                <a:srgbClr val="FFC000"/>
              </a:buClr>
              <a:buFont typeface="Arial" charset="0"/>
              <a:buNone/>
            </a:pPr>
            <a:r>
              <a:rPr lang="en-US" smtClean="0"/>
              <a:t>Operational Data Collection &amp; Analysis </a:t>
            </a:r>
          </a:p>
        </p:txBody>
      </p:sp>
      <p:grpSp>
        <p:nvGrpSpPr>
          <p:cNvPr id="62467" name="Group 4"/>
          <p:cNvGrpSpPr>
            <a:grpSpLocks/>
          </p:cNvGrpSpPr>
          <p:nvPr/>
        </p:nvGrpSpPr>
        <p:grpSpPr bwMode="auto">
          <a:xfrm>
            <a:off x="0" y="1412875"/>
            <a:ext cx="8869363" cy="503238"/>
            <a:chOff x="0" y="1071"/>
            <a:chExt cx="5587" cy="317"/>
          </a:xfrm>
        </p:grpSpPr>
        <p:sp>
          <p:nvSpPr>
            <p:cNvPr id="62496" name="Oval 5"/>
            <p:cNvSpPr>
              <a:spLocks noChangeArrowheads="1"/>
            </p:cNvSpPr>
            <p:nvPr>
              <p:custDataLst>
                <p:tags r:id="rId11"/>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1</a:t>
              </a:r>
            </a:p>
          </p:txBody>
        </p:sp>
        <p:sp>
          <p:nvSpPr>
            <p:cNvPr id="62497" name="Rectangle 6"/>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62498" name="Rectangle 7"/>
            <p:cNvSpPr>
              <a:spLocks noChangeArrowheads="1"/>
            </p:cNvSpPr>
            <p:nvPr>
              <p:custDataLst>
                <p:tags r:id="rId12"/>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62499" name="Rectangle 8"/>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nalysis and Assessment</a:t>
              </a:r>
              <a:endParaRPr lang="de-DE">
                <a:solidFill>
                  <a:srgbClr val="C0C0C0"/>
                </a:solidFill>
              </a:endParaRPr>
            </a:p>
          </p:txBody>
        </p:sp>
      </p:grpSp>
      <p:grpSp>
        <p:nvGrpSpPr>
          <p:cNvPr id="62468" name="Group 9"/>
          <p:cNvGrpSpPr>
            <a:grpSpLocks/>
          </p:cNvGrpSpPr>
          <p:nvPr/>
        </p:nvGrpSpPr>
        <p:grpSpPr bwMode="auto">
          <a:xfrm>
            <a:off x="0" y="4267200"/>
            <a:ext cx="8869363" cy="503238"/>
            <a:chOff x="0" y="1071"/>
            <a:chExt cx="5587" cy="317"/>
          </a:xfrm>
        </p:grpSpPr>
        <p:sp>
          <p:nvSpPr>
            <p:cNvPr id="62492" name="Oval 10"/>
            <p:cNvSpPr>
              <a:spLocks noChangeArrowheads="1"/>
            </p:cNvSpPr>
            <p:nvPr>
              <p:custDataLst>
                <p:tags r:id="rId9"/>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3</a:t>
              </a:r>
            </a:p>
          </p:txBody>
        </p:sp>
        <p:sp>
          <p:nvSpPr>
            <p:cNvPr id="62493" name="Rectangle 11"/>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62494" name="Rectangle 12"/>
            <p:cNvSpPr>
              <a:spLocks noChangeArrowheads="1"/>
            </p:cNvSpPr>
            <p:nvPr>
              <p:custDataLst>
                <p:tags r:id="rId10"/>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62495" name="Rectangle 13"/>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Design Considerations</a:t>
              </a:r>
            </a:p>
          </p:txBody>
        </p:sp>
      </p:grpSp>
      <p:grpSp>
        <p:nvGrpSpPr>
          <p:cNvPr id="62469" name="Group 14"/>
          <p:cNvGrpSpPr>
            <a:grpSpLocks/>
          </p:cNvGrpSpPr>
          <p:nvPr/>
        </p:nvGrpSpPr>
        <p:grpSpPr bwMode="auto">
          <a:xfrm>
            <a:off x="0" y="2062163"/>
            <a:ext cx="8869363" cy="503237"/>
            <a:chOff x="0" y="1071"/>
            <a:chExt cx="5587" cy="317"/>
          </a:xfrm>
        </p:grpSpPr>
        <p:sp>
          <p:nvSpPr>
            <p:cNvPr id="62488" name="Oval 15"/>
            <p:cNvSpPr>
              <a:spLocks noChangeArrowheads="1"/>
            </p:cNvSpPr>
            <p:nvPr>
              <p:custDataLst>
                <p:tags r:id="rId7"/>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2</a:t>
              </a:r>
            </a:p>
          </p:txBody>
        </p:sp>
        <p:sp>
          <p:nvSpPr>
            <p:cNvPr id="62489" name="Rectangle 16"/>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62490" name="Rectangle 17"/>
            <p:cNvSpPr>
              <a:spLocks noChangeArrowheads="1"/>
            </p:cNvSpPr>
            <p:nvPr>
              <p:custDataLst>
                <p:tags r:id="rId8"/>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62491" name="Rectangle 18"/>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t>Design Recommendations</a:t>
              </a:r>
            </a:p>
          </p:txBody>
        </p:sp>
      </p:grpSp>
      <p:grpSp>
        <p:nvGrpSpPr>
          <p:cNvPr id="62470" name="Group 20"/>
          <p:cNvGrpSpPr>
            <a:grpSpLocks/>
          </p:cNvGrpSpPr>
          <p:nvPr/>
        </p:nvGrpSpPr>
        <p:grpSpPr bwMode="auto">
          <a:xfrm>
            <a:off x="-9525" y="4914900"/>
            <a:ext cx="8869363" cy="503238"/>
            <a:chOff x="0" y="1071"/>
            <a:chExt cx="5587" cy="317"/>
          </a:xfrm>
        </p:grpSpPr>
        <p:sp>
          <p:nvSpPr>
            <p:cNvPr id="62484" name="Oval 21"/>
            <p:cNvSpPr>
              <a:spLocks noChangeArrowheads="1"/>
            </p:cNvSpPr>
            <p:nvPr>
              <p:custDataLst>
                <p:tags r:id="rId5"/>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4</a:t>
              </a:r>
            </a:p>
          </p:txBody>
        </p:sp>
        <p:sp>
          <p:nvSpPr>
            <p:cNvPr id="62485" name="Rectangle 22"/>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62486" name="Rectangle 23"/>
            <p:cNvSpPr>
              <a:spLocks noChangeArrowheads="1"/>
            </p:cNvSpPr>
            <p:nvPr>
              <p:custDataLst>
                <p:tags r:id="rId6"/>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62487" name="Rectangle 24"/>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dditional Recommendations and Next Steps</a:t>
              </a:r>
            </a:p>
          </p:txBody>
        </p:sp>
      </p:grpSp>
      <p:sp>
        <p:nvSpPr>
          <p:cNvPr id="62471" name="Oval 3"/>
          <p:cNvSpPr>
            <a:spLocks noChangeArrowheads="1"/>
          </p:cNvSpPr>
          <p:nvPr/>
        </p:nvSpPr>
        <p:spPr bwMode="gray">
          <a:xfrm>
            <a:off x="1600200" y="2601913"/>
            <a:ext cx="239713"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1</a:t>
            </a:r>
          </a:p>
        </p:txBody>
      </p:sp>
      <p:sp>
        <p:nvSpPr>
          <p:cNvPr id="62472" name="Oval 3"/>
          <p:cNvSpPr>
            <a:spLocks noChangeArrowheads="1"/>
          </p:cNvSpPr>
          <p:nvPr/>
        </p:nvSpPr>
        <p:spPr bwMode="gray">
          <a:xfrm>
            <a:off x="1600200" y="2852738"/>
            <a:ext cx="239713"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2</a:t>
            </a:r>
          </a:p>
        </p:txBody>
      </p:sp>
      <p:sp>
        <p:nvSpPr>
          <p:cNvPr id="62473" name="Oval 3"/>
          <p:cNvSpPr>
            <a:spLocks noChangeArrowheads="1"/>
          </p:cNvSpPr>
          <p:nvPr/>
        </p:nvSpPr>
        <p:spPr bwMode="gray">
          <a:xfrm>
            <a:off x="1600200" y="3103563"/>
            <a:ext cx="239713"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3</a:t>
            </a:r>
          </a:p>
        </p:txBody>
      </p:sp>
      <p:grpSp>
        <p:nvGrpSpPr>
          <p:cNvPr id="62474" name="Group 20"/>
          <p:cNvGrpSpPr>
            <a:grpSpLocks/>
          </p:cNvGrpSpPr>
          <p:nvPr/>
        </p:nvGrpSpPr>
        <p:grpSpPr bwMode="auto">
          <a:xfrm>
            <a:off x="-9525" y="4914900"/>
            <a:ext cx="8869363" cy="503238"/>
            <a:chOff x="0" y="1071"/>
            <a:chExt cx="5587" cy="317"/>
          </a:xfrm>
        </p:grpSpPr>
        <p:sp>
          <p:nvSpPr>
            <p:cNvPr id="62480" name="Oval 21"/>
            <p:cNvSpPr>
              <a:spLocks noChangeArrowheads="1"/>
            </p:cNvSpPr>
            <p:nvPr>
              <p:custDataLst>
                <p:tags r:id="rId3"/>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4</a:t>
              </a:r>
            </a:p>
          </p:txBody>
        </p:sp>
        <p:sp>
          <p:nvSpPr>
            <p:cNvPr id="62481" name="Rectangle 22"/>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62482" name="Rectangle 23"/>
            <p:cNvSpPr>
              <a:spLocks noChangeArrowheads="1"/>
            </p:cNvSpPr>
            <p:nvPr>
              <p:custDataLst>
                <p:tags r:id="rId4"/>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62483" name="Rectangle 24"/>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dditional Recommendations for Prioritized Projects</a:t>
              </a:r>
            </a:p>
          </p:txBody>
        </p:sp>
      </p:grpSp>
      <p:grpSp>
        <p:nvGrpSpPr>
          <p:cNvPr id="62475" name="Group 18"/>
          <p:cNvGrpSpPr>
            <a:grpSpLocks/>
          </p:cNvGrpSpPr>
          <p:nvPr/>
        </p:nvGrpSpPr>
        <p:grpSpPr bwMode="auto">
          <a:xfrm>
            <a:off x="-33338" y="5575300"/>
            <a:ext cx="8869363" cy="503238"/>
            <a:chOff x="0" y="1071"/>
            <a:chExt cx="5587" cy="317"/>
          </a:xfrm>
        </p:grpSpPr>
        <p:sp>
          <p:nvSpPr>
            <p:cNvPr id="62476" name="Oval 19"/>
            <p:cNvSpPr>
              <a:spLocks noChangeArrowheads="1"/>
            </p:cNvSpPr>
            <p:nvPr>
              <p:custDataLst>
                <p:tags r:id="rId1"/>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5</a:t>
              </a:r>
            </a:p>
          </p:txBody>
        </p:sp>
        <p:sp>
          <p:nvSpPr>
            <p:cNvPr id="62477" name="Rectangle 2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62478" name="Rectangle 21"/>
            <p:cNvSpPr>
              <a:spLocks noChangeArrowheads="1"/>
            </p:cNvSpPr>
            <p:nvPr>
              <p:custDataLst>
                <p:tags r:id="rId2"/>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62479" name="Rectangle 2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ppendix</a:t>
              </a:r>
            </a:p>
          </p:txBody>
        </p:sp>
      </p:gr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Title 1"/>
          <p:cNvSpPr>
            <a:spLocks noGrp="1"/>
          </p:cNvSpPr>
          <p:nvPr>
            <p:ph type="title" idx="4294967295"/>
          </p:nvPr>
        </p:nvSpPr>
        <p:spPr>
          <a:xfrm>
            <a:off x="274638" y="593725"/>
            <a:ext cx="8047037" cy="701675"/>
          </a:xfrm>
        </p:spPr>
        <p:txBody>
          <a:bodyPr/>
          <a:lstStyle/>
          <a:p>
            <a:pPr eaLnBrk="1" hangingPunct="1"/>
            <a:r>
              <a:rPr lang="en-US" smtClean="0">
                <a:solidFill>
                  <a:schemeClr val="tx1"/>
                </a:solidFill>
              </a:rPr>
              <a:t>Investing in a centralized program management application will improve operational efficiency and sustainability</a:t>
            </a:r>
          </a:p>
        </p:txBody>
      </p:sp>
      <p:sp>
        <p:nvSpPr>
          <p:cNvPr id="344066" name="Slide Number Placeholder 3"/>
          <p:cNvSpPr txBox="1">
            <a:spLocks noGrp="1"/>
          </p:cNvSpPr>
          <p:nvPr/>
        </p:nvSpPr>
        <p:spPr bwMode="black">
          <a:xfrm>
            <a:off x="182563" y="6537325"/>
            <a:ext cx="366712" cy="184150"/>
          </a:xfrm>
          <a:prstGeom prst="rect">
            <a:avLst/>
          </a:prstGeom>
          <a:noFill/>
          <a:ln>
            <a:miter lim="800000"/>
            <a:headEnd/>
            <a:tailEnd/>
          </a:ln>
        </p:spPr>
        <p:txBody>
          <a:bodyPr lIns="92075" tIns="46038" rIns="92075" bIns="46038"/>
          <a:lstStyle/>
          <a:p>
            <a:pPr>
              <a:defRPr/>
            </a:pPr>
            <a:fld id="{11B2AD17-E08A-4433-9038-13FB865AE69D}" type="slidenum">
              <a:rPr lang="en-US" sz="800">
                <a:latin typeface="+mn-lt"/>
              </a:rPr>
              <a:pPr>
                <a:defRPr/>
              </a:pPr>
              <a:t>16</a:t>
            </a:fld>
            <a:endParaRPr lang="en-US" sz="800">
              <a:latin typeface="+mn-lt"/>
            </a:endParaRPr>
          </a:p>
        </p:txBody>
      </p:sp>
      <p:sp>
        <p:nvSpPr>
          <p:cNvPr id="63491" name="Text Box 3"/>
          <p:cNvSpPr txBox="1">
            <a:spLocks noChangeArrowheads="1"/>
          </p:cNvSpPr>
          <p:nvPr/>
        </p:nvSpPr>
        <p:spPr bwMode="auto">
          <a:xfrm>
            <a:off x="381000" y="1511300"/>
            <a:ext cx="3479800" cy="304800"/>
          </a:xfrm>
          <a:prstGeom prst="rect">
            <a:avLst/>
          </a:prstGeom>
          <a:noFill/>
          <a:ln w="12700">
            <a:noFill/>
            <a:miter lim="800000"/>
            <a:headEnd/>
            <a:tailEnd/>
          </a:ln>
        </p:spPr>
        <p:txBody>
          <a:bodyPr>
            <a:spAutoFit/>
          </a:bodyPr>
          <a:lstStyle/>
          <a:p>
            <a:pPr algn="ctr"/>
            <a:r>
              <a:rPr lang="en-US" sz="1400" b="1"/>
              <a:t>From</a:t>
            </a:r>
          </a:p>
        </p:txBody>
      </p:sp>
      <p:sp>
        <p:nvSpPr>
          <p:cNvPr id="63492" name="Text Box 4"/>
          <p:cNvSpPr txBox="1">
            <a:spLocks noChangeArrowheads="1"/>
          </p:cNvSpPr>
          <p:nvPr/>
        </p:nvSpPr>
        <p:spPr bwMode="auto">
          <a:xfrm>
            <a:off x="6781800" y="1524000"/>
            <a:ext cx="388938" cy="307975"/>
          </a:xfrm>
          <a:prstGeom prst="rect">
            <a:avLst/>
          </a:prstGeom>
          <a:noFill/>
          <a:ln w="12700">
            <a:noFill/>
            <a:miter lim="800000"/>
            <a:headEnd/>
            <a:tailEnd/>
          </a:ln>
        </p:spPr>
        <p:txBody>
          <a:bodyPr wrap="none">
            <a:spAutoFit/>
          </a:bodyPr>
          <a:lstStyle/>
          <a:p>
            <a:r>
              <a:rPr lang="en-US" sz="1400" b="1"/>
              <a:t>To</a:t>
            </a:r>
          </a:p>
        </p:txBody>
      </p:sp>
      <p:sp>
        <p:nvSpPr>
          <p:cNvPr id="63493" name="Line 6"/>
          <p:cNvSpPr>
            <a:spLocks noChangeShapeType="1"/>
          </p:cNvSpPr>
          <p:nvPr/>
        </p:nvSpPr>
        <p:spPr bwMode="auto">
          <a:xfrm>
            <a:off x="4902200" y="1790700"/>
            <a:ext cx="4275138" cy="0"/>
          </a:xfrm>
          <a:prstGeom prst="line">
            <a:avLst/>
          </a:prstGeom>
          <a:noFill/>
          <a:ln w="12700">
            <a:solidFill>
              <a:schemeClr val="tx1"/>
            </a:solidFill>
            <a:round/>
            <a:headEnd/>
            <a:tailEnd/>
          </a:ln>
        </p:spPr>
        <p:txBody>
          <a:bodyPr wrap="none" anchor="ctr"/>
          <a:lstStyle/>
          <a:p>
            <a:endParaRPr lang="en-US"/>
          </a:p>
        </p:txBody>
      </p:sp>
      <p:sp>
        <p:nvSpPr>
          <p:cNvPr id="63494" name="Line 7"/>
          <p:cNvSpPr>
            <a:spLocks noChangeShapeType="1"/>
          </p:cNvSpPr>
          <p:nvPr/>
        </p:nvSpPr>
        <p:spPr bwMode="auto">
          <a:xfrm>
            <a:off x="436563" y="1790700"/>
            <a:ext cx="3348037" cy="0"/>
          </a:xfrm>
          <a:prstGeom prst="line">
            <a:avLst/>
          </a:prstGeom>
          <a:noFill/>
          <a:ln w="12700">
            <a:solidFill>
              <a:schemeClr val="tx1"/>
            </a:solidFill>
            <a:round/>
            <a:headEnd/>
            <a:tailEnd/>
          </a:ln>
        </p:spPr>
        <p:txBody>
          <a:bodyPr wrap="none" anchor="ctr"/>
          <a:lstStyle/>
          <a:p>
            <a:endParaRPr lang="en-US"/>
          </a:p>
        </p:txBody>
      </p:sp>
      <p:sp>
        <p:nvSpPr>
          <p:cNvPr id="11" name="AutoShape 9"/>
          <p:cNvSpPr>
            <a:spLocks noChangeArrowheads="1"/>
          </p:cNvSpPr>
          <p:nvPr/>
        </p:nvSpPr>
        <p:spPr bwMode="auto">
          <a:xfrm>
            <a:off x="4025900" y="1993900"/>
            <a:ext cx="673100" cy="4178300"/>
          </a:xfrm>
          <a:prstGeom prst="homePlate">
            <a:avLst>
              <a:gd name="adj" fmla="val 55769"/>
            </a:avLst>
          </a:prstGeom>
          <a:gradFill rotWithShape="0">
            <a:gsLst>
              <a:gs pos="0">
                <a:schemeClr val="accent1"/>
              </a:gs>
              <a:gs pos="100000">
                <a:schemeClr val="accent1">
                  <a:gamma/>
                  <a:shade val="6275"/>
                  <a:invGamma/>
                </a:schemeClr>
              </a:gs>
            </a:gsLst>
            <a:lin ang="0" scaled="1"/>
          </a:gradFill>
          <a:ln w="12700">
            <a:solidFill>
              <a:schemeClr val="tx1"/>
            </a:solidFill>
            <a:miter lim="800000"/>
            <a:headEnd/>
            <a:tailEnd/>
          </a:ln>
          <a:effectLst/>
        </p:spPr>
        <p:txBody>
          <a:bodyPr wrap="none" anchor="ctr"/>
          <a:lstStyle/>
          <a:p>
            <a:pPr fontAlgn="auto">
              <a:spcBef>
                <a:spcPts val="0"/>
              </a:spcBef>
              <a:spcAft>
                <a:spcPts val="0"/>
              </a:spcAft>
              <a:defRPr/>
            </a:pPr>
            <a:endParaRPr lang="en-US">
              <a:latin typeface="+mn-lt"/>
              <a:cs typeface="+mn-cs"/>
            </a:endParaRPr>
          </a:p>
        </p:txBody>
      </p:sp>
      <p:sp>
        <p:nvSpPr>
          <p:cNvPr id="63496" name="Rectangle 13"/>
          <p:cNvSpPr>
            <a:spLocks noChangeArrowheads="1"/>
          </p:cNvSpPr>
          <p:nvPr/>
        </p:nvSpPr>
        <p:spPr bwMode="auto">
          <a:xfrm>
            <a:off x="381000" y="1905000"/>
            <a:ext cx="3429000" cy="5070475"/>
          </a:xfrm>
          <a:prstGeom prst="rect">
            <a:avLst/>
          </a:prstGeom>
          <a:noFill/>
          <a:ln w="9525">
            <a:noFill/>
            <a:miter lim="800000"/>
            <a:headEnd/>
            <a:tailEnd/>
          </a:ln>
        </p:spPr>
        <p:txBody>
          <a:bodyPr>
            <a:spAutoFit/>
          </a:bodyPr>
          <a:lstStyle/>
          <a:p>
            <a:pPr marL="180975" indent="-180975">
              <a:spcBef>
                <a:spcPts val="1200"/>
              </a:spcBef>
              <a:buClr>
                <a:srgbClr val="7889FB"/>
              </a:buClr>
              <a:buFont typeface="Wingdings" pitchFamily="2" charset="2"/>
              <a:buChar char="§"/>
            </a:pPr>
            <a:r>
              <a:rPr lang="en-US" sz="1600"/>
              <a:t>No real time access to project information</a:t>
            </a:r>
          </a:p>
          <a:p>
            <a:pPr marL="180975" indent="-180975">
              <a:spcBef>
                <a:spcPts val="1200"/>
              </a:spcBef>
              <a:buClr>
                <a:srgbClr val="7889FB"/>
              </a:buClr>
              <a:buFont typeface="Wingdings" pitchFamily="2" charset="2"/>
              <a:buChar char="§"/>
            </a:pPr>
            <a:r>
              <a:rPr lang="en-US" sz="1600"/>
              <a:t>Limited visibility of overall key performance indicators and project details</a:t>
            </a:r>
          </a:p>
          <a:p>
            <a:pPr marL="180975" indent="-180975">
              <a:spcBef>
                <a:spcPts val="1200"/>
              </a:spcBef>
              <a:buClr>
                <a:srgbClr val="7889FB"/>
              </a:buClr>
              <a:buFont typeface="Wingdings" pitchFamily="2" charset="2"/>
              <a:buChar char="§"/>
            </a:pPr>
            <a:r>
              <a:rPr lang="en-US" sz="1600"/>
              <a:t>Manual input and analysis of key performance indicators</a:t>
            </a:r>
          </a:p>
          <a:p>
            <a:pPr marL="180975" indent="-180975">
              <a:spcBef>
                <a:spcPts val="1200"/>
              </a:spcBef>
              <a:buClr>
                <a:srgbClr val="7889FB"/>
              </a:buClr>
              <a:buFont typeface="Wingdings" pitchFamily="2" charset="2"/>
              <a:buChar char="§"/>
            </a:pPr>
            <a:r>
              <a:rPr lang="en-US" sz="1600"/>
              <a:t>Notable errors in information collection  </a:t>
            </a:r>
          </a:p>
          <a:p>
            <a:pPr marL="180975" indent="-180975">
              <a:spcBef>
                <a:spcPts val="1200"/>
              </a:spcBef>
              <a:buClr>
                <a:srgbClr val="7889FB"/>
              </a:buClr>
              <a:buFont typeface="Wingdings" pitchFamily="2" charset="2"/>
              <a:buChar char="§"/>
            </a:pPr>
            <a:r>
              <a:rPr lang="en-US" sz="1600"/>
              <a:t>Lag in response time to reporting requirements</a:t>
            </a:r>
          </a:p>
          <a:p>
            <a:pPr marL="180975" indent="-180975">
              <a:spcBef>
                <a:spcPts val="1200"/>
              </a:spcBef>
              <a:buClr>
                <a:srgbClr val="7889FB"/>
              </a:buClr>
              <a:buFont typeface="Wingdings" pitchFamily="2" charset="2"/>
              <a:buChar char="§"/>
            </a:pPr>
            <a:r>
              <a:rPr lang="en-US" sz="1600"/>
              <a:t>Limited number of resources trained to use current tools</a:t>
            </a:r>
          </a:p>
          <a:p>
            <a:pPr marL="180975" indent="-180975">
              <a:spcBef>
                <a:spcPts val="1200"/>
              </a:spcBef>
              <a:buClr>
                <a:srgbClr val="7889FB"/>
              </a:buClr>
              <a:buFont typeface="Wingdings" pitchFamily="2" charset="2"/>
              <a:buChar char="§"/>
            </a:pPr>
            <a:r>
              <a:rPr lang="en-US" sz="1600"/>
              <a:t>Paper based recording methods for supporting documentation</a:t>
            </a:r>
          </a:p>
          <a:p>
            <a:pPr marL="180975" indent="-180975">
              <a:spcBef>
                <a:spcPts val="1200"/>
              </a:spcBef>
              <a:buClr>
                <a:srgbClr val="7889FB"/>
              </a:buClr>
              <a:buFont typeface="Wingdings" pitchFamily="2" charset="2"/>
              <a:buChar char="§"/>
            </a:pPr>
            <a:endParaRPr lang="en-US" sz="1600"/>
          </a:p>
        </p:txBody>
      </p:sp>
      <p:sp>
        <p:nvSpPr>
          <p:cNvPr id="63497" name="Rectangle 14"/>
          <p:cNvSpPr>
            <a:spLocks noChangeArrowheads="1"/>
          </p:cNvSpPr>
          <p:nvPr/>
        </p:nvSpPr>
        <p:spPr bwMode="auto">
          <a:xfrm>
            <a:off x="4964113" y="1873250"/>
            <a:ext cx="3798887" cy="5278438"/>
          </a:xfrm>
          <a:prstGeom prst="rect">
            <a:avLst/>
          </a:prstGeom>
          <a:noFill/>
          <a:ln w="9525">
            <a:noFill/>
            <a:miter lim="800000"/>
            <a:headEnd/>
            <a:tailEnd/>
          </a:ln>
        </p:spPr>
        <p:txBody>
          <a:bodyPr>
            <a:spAutoFit/>
          </a:bodyPr>
          <a:lstStyle/>
          <a:p>
            <a:pPr marL="180975" indent="-180975">
              <a:spcBef>
                <a:spcPts val="1200"/>
              </a:spcBef>
              <a:buClr>
                <a:srgbClr val="7889FB"/>
              </a:buClr>
              <a:buFont typeface="Wingdings" pitchFamily="2" charset="2"/>
              <a:buChar char="§"/>
            </a:pPr>
            <a:r>
              <a:rPr lang="en-US"/>
              <a:t>Real time access to information </a:t>
            </a:r>
          </a:p>
          <a:p>
            <a:pPr marL="180975" indent="-180975">
              <a:spcBef>
                <a:spcPts val="1200"/>
              </a:spcBef>
              <a:buClr>
                <a:srgbClr val="7889FB"/>
              </a:buClr>
              <a:buFont typeface="Wingdings" pitchFamily="2" charset="2"/>
              <a:buChar char="§"/>
            </a:pPr>
            <a:r>
              <a:rPr lang="en-US"/>
              <a:t>Integrated view of project status and performance</a:t>
            </a:r>
          </a:p>
          <a:p>
            <a:pPr marL="180975" indent="-180975">
              <a:spcBef>
                <a:spcPts val="1200"/>
              </a:spcBef>
              <a:buClr>
                <a:srgbClr val="7889FB"/>
              </a:buClr>
              <a:buFont typeface="Wingdings" pitchFamily="2" charset="2"/>
              <a:buChar char="§"/>
            </a:pPr>
            <a:r>
              <a:rPr lang="en-US"/>
              <a:t>Automated tool for data collection and analysis</a:t>
            </a:r>
          </a:p>
          <a:p>
            <a:pPr marL="180975" indent="-180975">
              <a:spcBef>
                <a:spcPts val="1200"/>
              </a:spcBef>
              <a:buClr>
                <a:srgbClr val="7889FB"/>
              </a:buClr>
              <a:buFont typeface="Wingdings" pitchFamily="2" charset="2"/>
              <a:buChar char="§"/>
            </a:pPr>
            <a:r>
              <a:rPr lang="en-US"/>
              <a:t>Controlled entry and role based access reducing data error risks</a:t>
            </a:r>
          </a:p>
          <a:p>
            <a:pPr marL="180975" indent="-180975">
              <a:spcBef>
                <a:spcPts val="1200"/>
              </a:spcBef>
              <a:buClr>
                <a:srgbClr val="7889FB"/>
              </a:buClr>
              <a:buFont typeface="Wingdings" pitchFamily="2" charset="2"/>
              <a:buChar char="§"/>
            </a:pPr>
            <a:r>
              <a:rPr lang="en-US"/>
              <a:t>Friendly user interfaces and customized dashboards supporting user acceptance</a:t>
            </a:r>
          </a:p>
          <a:p>
            <a:pPr marL="180975" indent="-180975">
              <a:spcBef>
                <a:spcPts val="1200"/>
              </a:spcBef>
              <a:buClr>
                <a:srgbClr val="7889FB"/>
              </a:buClr>
              <a:buFont typeface="Wingdings" pitchFamily="2" charset="2"/>
              <a:buChar char="§"/>
            </a:pPr>
            <a:r>
              <a:rPr lang="en-US"/>
              <a:t>Flexible development model for customization and future project requirements</a:t>
            </a:r>
          </a:p>
          <a:p>
            <a:pPr marL="180975" indent="-180975">
              <a:spcBef>
                <a:spcPts val="1200"/>
              </a:spcBef>
              <a:buClr>
                <a:srgbClr val="7889FB"/>
              </a:buClr>
              <a:buFont typeface="Wingdings" pitchFamily="2" charset="2"/>
              <a:buChar char="§"/>
            </a:pPr>
            <a:endParaRPr lang="en-US"/>
          </a:p>
          <a:p>
            <a:pPr marL="180975" indent="-180975">
              <a:spcBef>
                <a:spcPts val="1200"/>
              </a:spcBef>
              <a:buClr>
                <a:srgbClr val="7889FB"/>
              </a:buClr>
              <a:buFont typeface="Wingdings" pitchFamily="2" charset="2"/>
              <a:buChar char="§"/>
            </a:pPr>
            <a:endParaRPr lang="en-US"/>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4AFB57EC-EC79-4C9F-B962-FA7952CD8A6E}" type="slidenum">
              <a:rPr lang="en-US" sz="800"/>
              <a:pPr/>
              <a:t>17</a:t>
            </a:fld>
            <a:endParaRPr lang="en-US" sz="800"/>
          </a:p>
        </p:txBody>
      </p:sp>
      <p:sp>
        <p:nvSpPr>
          <p:cNvPr id="64514" name="AutoShape 2"/>
          <p:cNvSpPr>
            <a:spLocks noChangeArrowheads="1"/>
          </p:cNvSpPr>
          <p:nvPr/>
        </p:nvSpPr>
        <p:spPr bwMode="auto">
          <a:xfrm>
            <a:off x="860425" y="1508125"/>
            <a:ext cx="7456488" cy="3000375"/>
          </a:xfrm>
          <a:prstGeom prst="roundRect">
            <a:avLst>
              <a:gd name="adj" fmla="val 5690"/>
            </a:avLst>
          </a:prstGeom>
          <a:noFill/>
          <a:ln w="9525">
            <a:solidFill>
              <a:schemeClr val="tx1"/>
            </a:solidFill>
            <a:round/>
            <a:headEnd/>
            <a:tailEnd/>
          </a:ln>
        </p:spPr>
        <p:txBody>
          <a:bodyPr wrap="none" lIns="91436" tIns="45716" rIns="91436" bIns="45716"/>
          <a:lstStyle/>
          <a:p>
            <a:pPr algn="ctr">
              <a:spcBef>
                <a:spcPct val="20000"/>
              </a:spcBef>
              <a:buClr>
                <a:schemeClr val="tx1"/>
              </a:buClr>
              <a:buFont typeface="Wingdings" pitchFamily="2" charset="2"/>
              <a:buNone/>
            </a:pPr>
            <a:endParaRPr lang="de-DE" sz="2000"/>
          </a:p>
        </p:txBody>
      </p:sp>
      <p:sp>
        <p:nvSpPr>
          <p:cNvPr id="64515" name="Oval 3"/>
          <p:cNvSpPr>
            <a:spLocks noChangeArrowheads="1"/>
          </p:cNvSpPr>
          <p:nvPr/>
        </p:nvSpPr>
        <p:spPr bwMode="gray">
          <a:xfrm>
            <a:off x="684213" y="1339850"/>
            <a:ext cx="534987" cy="528638"/>
          </a:xfrm>
          <a:prstGeom prst="ellipse">
            <a:avLst/>
          </a:prstGeom>
          <a:solidFill>
            <a:srgbClr val="FF9933"/>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2800" b="1">
                <a:solidFill>
                  <a:schemeClr val="bg1"/>
                </a:solidFill>
              </a:rPr>
              <a:t>2</a:t>
            </a:r>
          </a:p>
        </p:txBody>
      </p:sp>
      <p:sp>
        <p:nvSpPr>
          <p:cNvPr id="64516" name="Text Box 4"/>
          <p:cNvSpPr txBox="1">
            <a:spLocks noChangeArrowheads="1"/>
          </p:cNvSpPr>
          <p:nvPr/>
        </p:nvSpPr>
        <p:spPr bwMode="auto">
          <a:xfrm>
            <a:off x="1868488" y="2703513"/>
            <a:ext cx="4751387" cy="815975"/>
          </a:xfrm>
          <a:prstGeom prst="rect">
            <a:avLst/>
          </a:prstGeom>
          <a:noFill/>
          <a:ln w="9525">
            <a:noFill/>
            <a:miter lim="800000"/>
            <a:headEnd/>
            <a:tailEnd/>
          </a:ln>
        </p:spPr>
        <p:txBody>
          <a:bodyPr lIns="91436" tIns="45716" rIns="91436" bIns="45716">
            <a:spAutoFit/>
          </a:bodyPr>
          <a:lstStyle/>
          <a:p>
            <a:pPr marL="180975" indent="-180975">
              <a:spcBef>
                <a:spcPct val="20000"/>
              </a:spcBef>
              <a:buClr>
                <a:srgbClr val="9999FF"/>
              </a:buClr>
              <a:buFont typeface="Wingdings" pitchFamily="2" charset="2"/>
              <a:buChar char="§"/>
            </a:pPr>
            <a:r>
              <a:rPr lang="en-US" sz="1400"/>
              <a:t>Current State</a:t>
            </a:r>
          </a:p>
          <a:p>
            <a:pPr marL="180975" indent="-180975">
              <a:spcBef>
                <a:spcPct val="20000"/>
              </a:spcBef>
              <a:buClr>
                <a:srgbClr val="9999FF"/>
              </a:buClr>
              <a:buFont typeface="Wingdings" pitchFamily="2" charset="2"/>
              <a:buChar char="§"/>
            </a:pPr>
            <a:r>
              <a:rPr lang="en-US" sz="1400"/>
              <a:t>Proposed Solutions</a:t>
            </a:r>
          </a:p>
          <a:p>
            <a:pPr marL="180975" indent="-180975">
              <a:spcBef>
                <a:spcPct val="20000"/>
              </a:spcBef>
              <a:buClr>
                <a:srgbClr val="9999FF"/>
              </a:buClr>
              <a:buFont typeface="Wingdings" pitchFamily="2" charset="2"/>
              <a:buChar char="§"/>
            </a:pPr>
            <a:r>
              <a:rPr lang="en-US" sz="1400"/>
              <a:t>Other considerations</a:t>
            </a:r>
          </a:p>
        </p:txBody>
      </p:sp>
      <p:sp>
        <p:nvSpPr>
          <p:cNvPr id="64517" name="Text Box 5"/>
          <p:cNvSpPr txBox="1">
            <a:spLocks noChangeArrowheads="1"/>
          </p:cNvSpPr>
          <p:nvPr/>
        </p:nvSpPr>
        <p:spPr bwMode="auto">
          <a:xfrm>
            <a:off x="1189038" y="2132013"/>
            <a:ext cx="6119812" cy="304800"/>
          </a:xfrm>
          <a:prstGeom prst="rect">
            <a:avLst/>
          </a:prstGeom>
          <a:noFill/>
          <a:ln w="9525">
            <a:noFill/>
            <a:miter lim="800000"/>
            <a:headEnd/>
            <a:tailEnd/>
          </a:ln>
        </p:spPr>
        <p:txBody>
          <a:bodyPr lIns="91436" tIns="45716" rIns="91436" bIns="45716">
            <a:spAutoFit/>
          </a:bodyPr>
          <a:lstStyle/>
          <a:p>
            <a:r>
              <a:rPr lang="en-US" sz="1400" i="1"/>
              <a:t>Overview of the approach and proposed recommendations</a:t>
            </a:r>
          </a:p>
        </p:txBody>
      </p:sp>
      <p:sp>
        <p:nvSpPr>
          <p:cNvPr id="64518" name="Rectangle 6"/>
          <p:cNvSpPr>
            <a:spLocks noChangeArrowheads="1"/>
          </p:cNvSpPr>
          <p:nvPr/>
        </p:nvSpPr>
        <p:spPr bwMode="auto">
          <a:xfrm>
            <a:off x="1220788" y="1670050"/>
            <a:ext cx="2754312" cy="396875"/>
          </a:xfrm>
          <a:prstGeom prst="rect">
            <a:avLst/>
          </a:prstGeom>
          <a:noFill/>
          <a:ln w="9525">
            <a:noFill/>
            <a:miter lim="800000"/>
            <a:headEnd/>
            <a:tailEnd/>
          </a:ln>
        </p:spPr>
        <p:txBody>
          <a:bodyPr wrap="none" lIns="91436" tIns="45716" rIns="91436" bIns="45716">
            <a:spAutoFit/>
          </a:bodyPr>
          <a:lstStyle/>
          <a:p>
            <a:pPr>
              <a:spcBef>
                <a:spcPct val="20000"/>
              </a:spcBef>
              <a:buClr>
                <a:schemeClr val="tx1"/>
              </a:buClr>
              <a:buFont typeface="Wingdings" pitchFamily="2" charset="2"/>
              <a:buNone/>
            </a:pPr>
            <a:r>
              <a:rPr lang="de-DE" sz="2000"/>
              <a:t>Financial Management</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7" name="Rectangle 2"/>
          <p:cNvSpPr>
            <a:spLocks noGrp="1" noChangeArrowheads="1"/>
          </p:cNvSpPr>
          <p:nvPr>
            <p:ph type="title"/>
          </p:nvPr>
        </p:nvSpPr>
        <p:spPr/>
        <p:txBody>
          <a:bodyPr/>
          <a:lstStyle/>
          <a:p>
            <a:pPr algn="ctr"/>
            <a:r>
              <a:rPr lang="en-US" smtClean="0"/>
              <a:t>Financial Management: Overview</a:t>
            </a:r>
          </a:p>
        </p:txBody>
      </p:sp>
      <p:sp>
        <p:nvSpPr>
          <p:cNvPr id="65538" name="Rectangle 3"/>
          <p:cNvSpPr>
            <a:spLocks noGrp="1" noChangeArrowheads="1"/>
          </p:cNvSpPr>
          <p:nvPr>
            <p:ph type="body" sz="half" idx="1"/>
          </p:nvPr>
        </p:nvSpPr>
        <p:spPr>
          <a:xfrm>
            <a:off x="341313" y="2178050"/>
            <a:ext cx="3773487" cy="3597275"/>
          </a:xfrm>
        </p:spPr>
        <p:style>
          <a:lnRef idx="2">
            <a:schemeClr val="accent1"/>
          </a:lnRef>
          <a:fillRef idx="1">
            <a:schemeClr val="lt1"/>
          </a:fillRef>
          <a:effectRef idx="0">
            <a:schemeClr val="accent1"/>
          </a:effectRef>
          <a:fontRef idx="minor">
            <a:schemeClr val="dk1"/>
          </a:fontRef>
        </p:style>
        <p:txBody>
          <a:bodyPr/>
          <a:lstStyle/>
          <a:p>
            <a:pPr>
              <a:buFont typeface="Wingdings" pitchFamily="2" charset="2"/>
              <a:buNone/>
              <a:defRPr/>
            </a:pPr>
            <a:r>
              <a:rPr lang="en-US" sz="1600" b="1" dirty="0" smtClean="0"/>
              <a:t>From</a:t>
            </a:r>
          </a:p>
          <a:p>
            <a:pPr lvl="1">
              <a:lnSpc>
                <a:spcPct val="110000"/>
              </a:lnSpc>
              <a:buFont typeface="Wingdings" pitchFamily="2" charset="2"/>
              <a:buChar char="§"/>
              <a:defRPr/>
            </a:pPr>
            <a:r>
              <a:rPr lang="en-US" sz="1600" dirty="0" smtClean="0"/>
              <a:t>Manual</a:t>
            </a:r>
          </a:p>
          <a:p>
            <a:pPr lvl="1">
              <a:lnSpc>
                <a:spcPct val="110000"/>
              </a:lnSpc>
              <a:buFont typeface="Wingdings" pitchFamily="2" charset="2"/>
              <a:buChar char="§"/>
              <a:defRPr/>
            </a:pPr>
            <a:r>
              <a:rPr lang="en-US" sz="1600" dirty="0" smtClean="0"/>
              <a:t>Reactive audit reporting</a:t>
            </a:r>
          </a:p>
          <a:p>
            <a:pPr lvl="1">
              <a:lnSpc>
                <a:spcPct val="110000"/>
              </a:lnSpc>
              <a:buFont typeface="Wingdings" pitchFamily="2" charset="2"/>
              <a:buChar char="§"/>
              <a:defRPr/>
            </a:pPr>
            <a:r>
              <a:rPr lang="en-US" sz="1600" dirty="0" smtClean="0"/>
              <a:t>Stifled decision making – manual senior level sign off</a:t>
            </a:r>
          </a:p>
          <a:p>
            <a:pPr lvl="1">
              <a:lnSpc>
                <a:spcPct val="110000"/>
              </a:lnSpc>
              <a:buFont typeface="Wingdings" pitchFamily="2" charset="2"/>
              <a:buChar char="§"/>
              <a:defRPr/>
            </a:pPr>
            <a:r>
              <a:rPr lang="en-US" sz="1600" dirty="0" smtClean="0"/>
              <a:t>Significant time to input approvals</a:t>
            </a:r>
          </a:p>
          <a:p>
            <a:pPr lvl="1">
              <a:lnSpc>
                <a:spcPct val="110000"/>
              </a:lnSpc>
              <a:buFont typeface="Wingdings" pitchFamily="2" charset="2"/>
              <a:buChar char="§"/>
              <a:defRPr/>
            </a:pPr>
            <a:r>
              <a:rPr lang="en-US" sz="1600" dirty="0" smtClean="0"/>
              <a:t>No direct integration with other databases/information sources</a:t>
            </a:r>
          </a:p>
          <a:p>
            <a:pPr lvl="1">
              <a:lnSpc>
                <a:spcPct val="110000"/>
              </a:lnSpc>
              <a:buFont typeface="Wingdings" pitchFamily="2" charset="2"/>
              <a:buChar char="§"/>
              <a:defRPr/>
            </a:pPr>
            <a:r>
              <a:rPr lang="en-US" sz="1600" dirty="0" smtClean="0"/>
              <a:t>Discrepancies between financial information and metrics</a:t>
            </a:r>
          </a:p>
          <a:p>
            <a:pPr>
              <a:buFont typeface="Wingdings" pitchFamily="2" charset="2"/>
              <a:buNone/>
              <a:defRPr/>
            </a:pPr>
            <a:endParaRPr lang="en-US" sz="1600" dirty="0" smtClean="0"/>
          </a:p>
          <a:p>
            <a:pPr>
              <a:buFont typeface="Wingdings" pitchFamily="2" charset="2"/>
              <a:buNone/>
              <a:defRPr/>
            </a:pPr>
            <a:endParaRPr lang="en-US" sz="1600" dirty="0" smtClean="0"/>
          </a:p>
          <a:p>
            <a:pPr lvl="1">
              <a:buFont typeface="Arial" charset="0"/>
              <a:buNone/>
              <a:defRPr/>
            </a:pPr>
            <a:endParaRPr lang="en-US" sz="1200" dirty="0" smtClean="0"/>
          </a:p>
        </p:txBody>
      </p:sp>
      <p:sp>
        <p:nvSpPr>
          <p:cNvPr id="65539" name="Rectangle 4"/>
          <p:cNvSpPr>
            <a:spLocks noGrp="1" noChangeArrowheads="1"/>
          </p:cNvSpPr>
          <p:nvPr>
            <p:ph type="body" sz="half" idx="2"/>
          </p:nvPr>
        </p:nvSpPr>
        <p:spPr>
          <a:xfrm>
            <a:off x="4760913" y="2192338"/>
            <a:ext cx="3817937" cy="3582987"/>
          </a:xfrm>
        </p:spPr>
        <p:style>
          <a:lnRef idx="2">
            <a:schemeClr val="accent1"/>
          </a:lnRef>
          <a:fillRef idx="1">
            <a:schemeClr val="lt1"/>
          </a:fillRef>
          <a:effectRef idx="0">
            <a:schemeClr val="accent1"/>
          </a:effectRef>
          <a:fontRef idx="minor">
            <a:schemeClr val="dk1"/>
          </a:fontRef>
        </p:style>
        <p:txBody>
          <a:bodyPr/>
          <a:lstStyle/>
          <a:p>
            <a:pPr>
              <a:lnSpc>
                <a:spcPct val="120000"/>
              </a:lnSpc>
              <a:buFont typeface="Wingdings" pitchFamily="2" charset="2"/>
              <a:buNone/>
              <a:defRPr/>
            </a:pPr>
            <a:r>
              <a:rPr lang="en-US" sz="1600" b="1" dirty="0" smtClean="0"/>
              <a:t>To</a:t>
            </a:r>
          </a:p>
          <a:p>
            <a:pPr lvl="1">
              <a:lnSpc>
                <a:spcPct val="120000"/>
              </a:lnSpc>
              <a:buFont typeface="Wingdings" pitchFamily="2" charset="2"/>
              <a:buChar char="§"/>
              <a:defRPr/>
            </a:pPr>
            <a:r>
              <a:rPr lang="en-US" sz="1600" dirty="0" smtClean="0"/>
              <a:t>Automated</a:t>
            </a:r>
          </a:p>
          <a:p>
            <a:pPr lvl="1">
              <a:lnSpc>
                <a:spcPct val="120000"/>
              </a:lnSpc>
              <a:buFont typeface="Wingdings" pitchFamily="2" charset="2"/>
              <a:buChar char="§"/>
              <a:defRPr/>
            </a:pPr>
            <a:r>
              <a:rPr lang="en-US" sz="1600" dirty="0" smtClean="0"/>
              <a:t>Efficient “just in time” audit reporting and streamlined data availability</a:t>
            </a:r>
          </a:p>
          <a:p>
            <a:pPr lvl="1">
              <a:lnSpc>
                <a:spcPct val="120000"/>
              </a:lnSpc>
              <a:buFont typeface="Wingdings" pitchFamily="2" charset="2"/>
              <a:buChar char="§"/>
              <a:defRPr/>
            </a:pPr>
            <a:r>
              <a:rPr lang="en-US" sz="1600" dirty="0" smtClean="0"/>
              <a:t>Delegation of responsibilities</a:t>
            </a:r>
          </a:p>
          <a:p>
            <a:pPr lvl="1">
              <a:lnSpc>
                <a:spcPct val="120000"/>
              </a:lnSpc>
              <a:buFont typeface="Wingdings" pitchFamily="2" charset="2"/>
              <a:buChar char="§"/>
              <a:defRPr/>
            </a:pPr>
            <a:r>
              <a:rPr lang="en-US" sz="1600" dirty="0" smtClean="0"/>
              <a:t>Reduced time for data input</a:t>
            </a:r>
          </a:p>
          <a:p>
            <a:pPr lvl="1">
              <a:lnSpc>
                <a:spcPct val="120000"/>
              </a:lnSpc>
              <a:buFont typeface="Wingdings" pitchFamily="2" charset="2"/>
              <a:buChar char="§"/>
              <a:defRPr/>
            </a:pPr>
            <a:r>
              <a:rPr lang="en-US" sz="1600" dirty="0" smtClean="0"/>
              <a:t>Integrated operations and finance database application</a:t>
            </a:r>
          </a:p>
          <a:p>
            <a:pPr lvl="1">
              <a:lnSpc>
                <a:spcPct val="120000"/>
              </a:lnSpc>
              <a:buFont typeface="Wingdings" pitchFamily="2" charset="2"/>
              <a:buChar char="§"/>
              <a:defRPr/>
            </a:pPr>
            <a:r>
              <a:rPr lang="en-US" sz="1600" dirty="0" smtClean="0"/>
              <a:t>Reduced risk of data discrepancies</a:t>
            </a:r>
          </a:p>
          <a:p>
            <a:pPr lvl="1">
              <a:lnSpc>
                <a:spcPct val="120000"/>
              </a:lnSpc>
              <a:defRPr/>
            </a:pPr>
            <a:endParaRPr lang="en-US" sz="1600" dirty="0" smtClean="0"/>
          </a:p>
        </p:txBody>
      </p:sp>
      <p:sp>
        <p:nvSpPr>
          <p:cNvPr id="65540" name="AutoShape 9"/>
          <p:cNvSpPr>
            <a:spLocks noChangeArrowheads="1"/>
          </p:cNvSpPr>
          <p:nvPr/>
        </p:nvSpPr>
        <p:spPr bwMode="auto">
          <a:xfrm flipV="1">
            <a:off x="1720850" y="1295400"/>
            <a:ext cx="5634038" cy="882650"/>
          </a:xfrm>
          <a:prstGeom prst="curvedUpArrow">
            <a:avLst>
              <a:gd name="adj1" fmla="val 116403"/>
              <a:gd name="adj2" fmla="val 232776"/>
              <a:gd name="adj3" fmla="val 33333"/>
            </a:avLst>
          </a:prstGeom>
          <a:gradFill rotWithShape="1">
            <a:gsLst>
              <a:gs pos="0">
                <a:srgbClr val="CCCCFF"/>
              </a:gs>
              <a:gs pos="100000">
                <a:srgbClr val="9999FF"/>
              </a:gs>
            </a:gsLst>
            <a:lin ang="5400000" scaled="1"/>
          </a:gradFill>
          <a:ln w="9525">
            <a:noFill/>
            <a:miter lim="800000"/>
            <a:headEnd/>
            <a:tailEnd/>
          </a:ln>
        </p:spPr>
        <p:txBody>
          <a:bodyPr rot="10800000" wrap="none" anchor="ctr"/>
          <a:lstStyle/>
          <a:p>
            <a:endParaRPr lang="en-US"/>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1" name="Title 1"/>
          <p:cNvSpPr>
            <a:spLocks noGrp="1"/>
          </p:cNvSpPr>
          <p:nvPr>
            <p:ph type="title"/>
          </p:nvPr>
        </p:nvSpPr>
        <p:spPr>
          <a:xfrm>
            <a:off x="468313" y="476250"/>
            <a:ext cx="8229600" cy="436563"/>
          </a:xfrm>
        </p:spPr>
        <p:txBody>
          <a:bodyPr/>
          <a:lstStyle/>
          <a:p>
            <a:pPr algn="ctr" eaLnBrk="1" hangingPunct="1"/>
            <a:r>
              <a:rPr lang="en-US" sz="2800" b="1" smtClean="0"/>
              <a:t>Financial Management</a:t>
            </a:r>
          </a:p>
        </p:txBody>
      </p:sp>
      <p:sp>
        <p:nvSpPr>
          <p:cNvPr id="66562" name="Content Placeholder 2"/>
          <p:cNvSpPr>
            <a:spLocks noGrp="1"/>
          </p:cNvSpPr>
          <p:nvPr>
            <p:ph idx="1"/>
          </p:nvPr>
        </p:nvSpPr>
        <p:spPr>
          <a:xfrm>
            <a:off x="457200" y="908050"/>
            <a:ext cx="8229600" cy="5545138"/>
          </a:xfrm>
        </p:spPr>
        <p:txBody>
          <a:bodyPr/>
          <a:lstStyle/>
          <a:p>
            <a:pPr eaLnBrk="1" hangingPunct="1">
              <a:buFont typeface="Arial" charset="0"/>
              <a:buNone/>
            </a:pPr>
            <a:r>
              <a:rPr lang="en-US" sz="1800" b="1" smtClean="0"/>
              <a:t>Project Definition/Creation:</a:t>
            </a:r>
            <a:r>
              <a:rPr lang="en-US" sz="1800" smtClean="0"/>
              <a:t> </a:t>
            </a:r>
            <a:r>
              <a:rPr lang="en-US" sz="1800" i="1" smtClean="0"/>
              <a:t>is the specification of a project with a fixed objective that is to be achieved with:</a:t>
            </a:r>
          </a:p>
          <a:p>
            <a:pPr lvl="1" eaLnBrk="1" hangingPunct="1"/>
            <a:r>
              <a:rPr lang="en-US" smtClean="0"/>
              <a:t>allocated funds, </a:t>
            </a:r>
          </a:p>
          <a:p>
            <a:pPr lvl="1" eaLnBrk="1" hangingPunct="1"/>
            <a:r>
              <a:rPr lang="en-US" smtClean="0"/>
              <a:t>with the planned resources, </a:t>
            </a:r>
          </a:p>
          <a:p>
            <a:pPr lvl="1" eaLnBrk="1" hangingPunct="1"/>
            <a:r>
              <a:rPr lang="en-US" smtClean="0"/>
              <a:t>and to an agreed  level of quality in a given time</a:t>
            </a:r>
          </a:p>
          <a:p>
            <a:pPr lvl="1" eaLnBrk="1" hangingPunct="1">
              <a:buFont typeface="Arial" charset="0"/>
              <a:buNone/>
            </a:pPr>
            <a:endParaRPr lang="en-US" smtClean="0"/>
          </a:p>
          <a:p>
            <a:pPr eaLnBrk="1" hangingPunct="1">
              <a:buFont typeface="Arial" charset="0"/>
              <a:buNone/>
            </a:pPr>
            <a:r>
              <a:rPr lang="en-US" sz="1800" smtClean="0"/>
              <a:t>The project is distinguished by </a:t>
            </a:r>
          </a:p>
          <a:p>
            <a:pPr lvl="1" eaLnBrk="1" hangingPunct="1"/>
            <a:r>
              <a:rPr lang="en-US" smtClean="0"/>
              <a:t>its uniqueness, </a:t>
            </a:r>
          </a:p>
          <a:p>
            <a:pPr lvl="1" eaLnBrk="1" hangingPunct="1"/>
            <a:r>
              <a:rPr lang="en-US" smtClean="0"/>
              <a:t>The element of risk involved</a:t>
            </a:r>
          </a:p>
          <a:p>
            <a:pPr lvl="1" eaLnBrk="1" hangingPunct="1"/>
            <a:r>
              <a:rPr lang="en-US" smtClean="0"/>
              <a:t>its organizational importance</a:t>
            </a:r>
          </a:p>
          <a:p>
            <a:pPr lvl="1" eaLnBrk="1" hangingPunct="1"/>
            <a:endParaRPr lang="en-US" smtClean="0"/>
          </a:p>
          <a:p>
            <a:pPr eaLnBrk="1" hangingPunct="1">
              <a:buFont typeface="Arial" charset="0"/>
              <a:buNone/>
            </a:pPr>
            <a:r>
              <a:rPr lang="en-US" sz="1800" smtClean="0"/>
              <a:t>The project will have</a:t>
            </a:r>
          </a:p>
          <a:p>
            <a:pPr lvl="1" eaLnBrk="1" hangingPunct="1"/>
            <a:r>
              <a:rPr lang="en-US" smtClean="0"/>
              <a:t>	fixed attributes</a:t>
            </a:r>
          </a:p>
          <a:p>
            <a:pPr lvl="1" eaLnBrk="1" hangingPunct="1"/>
            <a:r>
              <a:rPr lang="en-US" smtClean="0"/>
              <a:t>	variable attributes</a:t>
            </a:r>
          </a:p>
          <a:p>
            <a:pPr eaLnBrk="1" hangingPunct="1">
              <a:buFont typeface="Arial" charset="0"/>
              <a:buNone/>
            </a:pPr>
            <a:r>
              <a:rPr lang="en-US" sz="1800" smtClean="0"/>
              <a:t>In ALCS, currently projects are categorized into 5 groups</a:t>
            </a:r>
          </a:p>
          <a:p>
            <a:pPr lvl="1" eaLnBrk="1" hangingPunct="1"/>
            <a:r>
              <a:rPr lang="en-US" smtClean="0"/>
              <a:t>Prevention (PPM, PPF, PPR, PPO, PPMig, PuD)</a:t>
            </a:r>
          </a:p>
          <a:p>
            <a:pPr lvl="1" eaLnBrk="1" hangingPunct="1"/>
            <a:r>
              <a:rPr lang="en-US" smtClean="0"/>
              <a:t>Testing of HIV (CIDAG)</a:t>
            </a:r>
          </a:p>
          <a:p>
            <a:pPr lvl="1" eaLnBrk="1" hangingPunct="1"/>
            <a:r>
              <a:rPr lang="en-US" smtClean="0"/>
              <a:t>Sexually transmitted diseases: STD (IST)</a:t>
            </a:r>
          </a:p>
          <a:p>
            <a:pPr lvl="1" eaLnBrk="1" hangingPunct="1"/>
            <a:r>
              <a:rPr lang="en-US" smtClean="0"/>
              <a:t>People living with HIV (Support for people living with HIV)</a:t>
            </a:r>
          </a:p>
          <a:p>
            <a:pPr lvl="1" eaLnBrk="1" hangingPunct="1"/>
            <a:r>
              <a:rPr lang="en-US" smtClean="0"/>
              <a:t>Non funded projects to increase awareness</a:t>
            </a:r>
          </a:p>
          <a:p>
            <a:pPr eaLnBrk="1" hangingPunct="1">
              <a:buFont typeface="Arial" charset="0"/>
              <a:buNone/>
            </a:pPr>
            <a:endParaRPr lang="en-US" sz="1800" smtClean="0"/>
          </a:p>
          <a:p>
            <a:pPr eaLnBrk="1" hangingPunct="1">
              <a:buFont typeface="Arial" charset="0"/>
              <a:buNone/>
            </a:pPr>
            <a:endParaRPr lang="en-US" sz="1800" smtClean="0"/>
          </a:p>
          <a:p>
            <a:pPr eaLnBrk="1" hangingPunct="1">
              <a:buFont typeface="Arial" charset="0"/>
              <a:buNone/>
            </a:pPr>
            <a:endParaRPr lang="en-US" sz="1800" smtClean="0"/>
          </a:p>
          <a:p>
            <a:pPr eaLnBrk="1" hangingPunct="1"/>
            <a:endParaRPr lang="en-US" sz="1800" smtClean="0"/>
          </a:p>
        </p:txBody>
      </p:sp>
      <p:sp>
        <p:nvSpPr>
          <p:cNvPr id="66563" name="Line 4"/>
          <p:cNvSpPr>
            <a:spLocks noChangeShapeType="1"/>
          </p:cNvSpPr>
          <p:nvPr/>
        </p:nvSpPr>
        <p:spPr bwMode="auto">
          <a:xfrm flipV="1">
            <a:off x="274638" y="549275"/>
            <a:ext cx="8594725" cy="0"/>
          </a:xfrm>
          <a:prstGeom prst="line">
            <a:avLst/>
          </a:prstGeom>
          <a:noFill/>
          <a:ln w="9525">
            <a:solidFill>
              <a:schemeClr val="tx1"/>
            </a:solidFill>
            <a:round/>
            <a:headEnd/>
            <a:tailEnd/>
          </a:ln>
        </p:spPr>
        <p:txBody>
          <a:bodyPr/>
          <a:lstStyle/>
          <a:p>
            <a:endParaRPr lang="en-US"/>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Rectangle 2"/>
          <p:cNvSpPr>
            <a:spLocks noChangeArrowheads="1"/>
          </p:cNvSpPr>
          <p:nvPr/>
        </p:nvSpPr>
        <p:spPr bwMode="auto">
          <a:xfrm>
            <a:off x="196850" y="4186238"/>
            <a:ext cx="8893175" cy="2519362"/>
          </a:xfrm>
          <a:prstGeom prst="rect">
            <a:avLst/>
          </a:prstGeom>
          <a:solidFill>
            <a:schemeClr val="accent1">
              <a:alpha val="16862"/>
            </a:schemeClr>
          </a:solidFill>
          <a:ln w="9525">
            <a:solidFill>
              <a:schemeClr val="tx1"/>
            </a:solidFill>
            <a:miter lim="800000"/>
            <a:headEnd/>
            <a:tailEnd/>
          </a:ln>
        </p:spPr>
        <p:txBody>
          <a:bodyPr wrap="none" anchor="ctr"/>
          <a:lstStyle/>
          <a:p>
            <a:endParaRPr lang="en-US"/>
          </a:p>
        </p:txBody>
      </p:sp>
      <p:pic>
        <p:nvPicPr>
          <p:cNvPr id="40962" name="Picture 3" descr="world map"/>
          <p:cNvPicPr>
            <a:picLocks noChangeAspect="1" noChangeArrowheads="1"/>
          </p:cNvPicPr>
          <p:nvPr/>
        </p:nvPicPr>
        <p:blipFill>
          <a:blip r:embed="rId2"/>
          <a:srcRect/>
          <a:stretch>
            <a:fillRect/>
          </a:stretch>
        </p:blipFill>
        <p:spPr bwMode="auto">
          <a:xfrm>
            <a:off x="238125" y="1139825"/>
            <a:ext cx="4972050" cy="3046413"/>
          </a:xfrm>
          <a:prstGeom prst="rect">
            <a:avLst/>
          </a:prstGeom>
          <a:noFill/>
          <a:ln w="9525">
            <a:noFill/>
            <a:miter lim="800000"/>
            <a:headEnd/>
            <a:tailEnd/>
          </a:ln>
        </p:spPr>
      </p:pic>
      <p:pic>
        <p:nvPicPr>
          <p:cNvPr id="40963" name="Picture 4" descr="Djurdjica Damjanovic"/>
          <p:cNvPicPr>
            <a:picLocks noChangeAspect="1" noChangeArrowheads="1"/>
          </p:cNvPicPr>
          <p:nvPr/>
        </p:nvPicPr>
        <p:blipFill>
          <a:blip r:embed="rId3"/>
          <a:srcRect/>
          <a:stretch>
            <a:fillRect/>
          </a:stretch>
        </p:blipFill>
        <p:spPr bwMode="auto">
          <a:xfrm>
            <a:off x="2622550" y="1139825"/>
            <a:ext cx="242888" cy="252413"/>
          </a:xfrm>
          <a:prstGeom prst="rect">
            <a:avLst/>
          </a:prstGeom>
          <a:noFill/>
          <a:ln w="9525">
            <a:noFill/>
            <a:miter lim="800000"/>
            <a:headEnd/>
            <a:tailEnd/>
          </a:ln>
        </p:spPr>
      </p:pic>
      <p:pic>
        <p:nvPicPr>
          <p:cNvPr id="40964" name="Picture 5" descr="Patrick Joussen"/>
          <p:cNvPicPr>
            <a:picLocks noChangeAspect="1" noChangeArrowheads="1"/>
          </p:cNvPicPr>
          <p:nvPr/>
        </p:nvPicPr>
        <p:blipFill>
          <a:blip r:embed="rId4"/>
          <a:srcRect/>
          <a:stretch>
            <a:fillRect/>
          </a:stretch>
        </p:blipFill>
        <p:spPr bwMode="auto">
          <a:xfrm>
            <a:off x="1970088" y="1139825"/>
            <a:ext cx="244475" cy="252413"/>
          </a:xfrm>
          <a:prstGeom prst="rect">
            <a:avLst/>
          </a:prstGeom>
          <a:noFill/>
          <a:ln w="9525">
            <a:noFill/>
            <a:miter lim="800000"/>
            <a:headEnd/>
            <a:tailEnd/>
          </a:ln>
        </p:spPr>
      </p:pic>
      <p:pic>
        <p:nvPicPr>
          <p:cNvPr id="40965" name="Picture 6" descr="Dany Le Goaix"/>
          <p:cNvPicPr>
            <a:picLocks noChangeAspect="1" noChangeArrowheads="1"/>
          </p:cNvPicPr>
          <p:nvPr/>
        </p:nvPicPr>
        <p:blipFill>
          <a:blip r:embed="rId5"/>
          <a:srcRect/>
          <a:stretch>
            <a:fillRect/>
          </a:stretch>
        </p:blipFill>
        <p:spPr bwMode="auto">
          <a:xfrm>
            <a:off x="917575" y="1876425"/>
            <a:ext cx="242888" cy="252413"/>
          </a:xfrm>
          <a:prstGeom prst="rect">
            <a:avLst/>
          </a:prstGeom>
          <a:noFill/>
          <a:ln w="9525">
            <a:noFill/>
            <a:miter lim="800000"/>
            <a:headEnd/>
            <a:tailEnd/>
          </a:ln>
        </p:spPr>
      </p:pic>
      <p:pic>
        <p:nvPicPr>
          <p:cNvPr id="40966" name="Picture 7" descr="Michael Keller"/>
          <p:cNvPicPr>
            <a:picLocks noChangeAspect="1" noChangeArrowheads="1"/>
          </p:cNvPicPr>
          <p:nvPr/>
        </p:nvPicPr>
        <p:blipFill>
          <a:blip r:embed="rId6"/>
          <a:srcRect/>
          <a:stretch>
            <a:fillRect/>
          </a:stretch>
        </p:blipFill>
        <p:spPr bwMode="auto">
          <a:xfrm>
            <a:off x="2714625" y="2449513"/>
            <a:ext cx="242888" cy="252412"/>
          </a:xfrm>
          <a:prstGeom prst="rect">
            <a:avLst/>
          </a:prstGeom>
          <a:noFill/>
          <a:ln w="9525">
            <a:noFill/>
            <a:miter lim="800000"/>
            <a:headEnd/>
            <a:tailEnd/>
          </a:ln>
        </p:spPr>
      </p:pic>
      <p:pic>
        <p:nvPicPr>
          <p:cNvPr id="40967" name="Picture 8" descr="Gerry Broennimann"/>
          <p:cNvPicPr>
            <a:picLocks noChangeAspect="1" noChangeArrowheads="1"/>
          </p:cNvPicPr>
          <p:nvPr/>
        </p:nvPicPr>
        <p:blipFill>
          <a:blip r:embed="rId7"/>
          <a:srcRect/>
          <a:stretch>
            <a:fillRect/>
          </a:stretch>
        </p:blipFill>
        <p:spPr bwMode="auto">
          <a:xfrm>
            <a:off x="2298700" y="1139825"/>
            <a:ext cx="244475" cy="252413"/>
          </a:xfrm>
          <a:prstGeom prst="rect">
            <a:avLst/>
          </a:prstGeom>
          <a:noFill/>
          <a:ln w="9525">
            <a:noFill/>
            <a:miter lim="800000"/>
            <a:headEnd/>
            <a:tailEnd/>
          </a:ln>
        </p:spPr>
      </p:pic>
      <p:pic>
        <p:nvPicPr>
          <p:cNvPr id="40968" name="Picture 9" descr="Lauren Lopez De Victoria"/>
          <p:cNvPicPr>
            <a:picLocks noChangeAspect="1" noChangeArrowheads="1"/>
          </p:cNvPicPr>
          <p:nvPr/>
        </p:nvPicPr>
        <p:blipFill>
          <a:blip r:embed="rId8"/>
          <a:srcRect/>
          <a:stretch>
            <a:fillRect/>
          </a:stretch>
        </p:blipFill>
        <p:spPr bwMode="auto">
          <a:xfrm>
            <a:off x="971550" y="2671763"/>
            <a:ext cx="242888" cy="252412"/>
          </a:xfrm>
          <a:prstGeom prst="rect">
            <a:avLst/>
          </a:prstGeom>
          <a:noFill/>
          <a:ln w="9525">
            <a:noFill/>
            <a:miter lim="800000"/>
            <a:headEnd/>
            <a:tailEnd/>
          </a:ln>
        </p:spPr>
      </p:pic>
      <p:pic>
        <p:nvPicPr>
          <p:cNvPr id="40969" name="Picture 10" descr="Sayoko Matsumoto"/>
          <p:cNvPicPr>
            <a:picLocks noChangeAspect="1" noChangeArrowheads="1"/>
          </p:cNvPicPr>
          <p:nvPr/>
        </p:nvPicPr>
        <p:blipFill>
          <a:blip r:embed="rId9"/>
          <a:srcRect/>
          <a:stretch>
            <a:fillRect/>
          </a:stretch>
        </p:blipFill>
        <p:spPr bwMode="auto">
          <a:xfrm>
            <a:off x="4049713" y="2449513"/>
            <a:ext cx="244475" cy="252412"/>
          </a:xfrm>
          <a:prstGeom prst="rect">
            <a:avLst/>
          </a:prstGeom>
          <a:noFill/>
          <a:ln w="9525">
            <a:noFill/>
            <a:miter lim="800000"/>
            <a:headEnd/>
            <a:tailEnd/>
          </a:ln>
        </p:spPr>
      </p:pic>
      <p:pic>
        <p:nvPicPr>
          <p:cNvPr id="40970" name="Picture 11" descr="Ana Paula Maranho Csuraji"/>
          <p:cNvPicPr>
            <a:picLocks noChangeAspect="1" noChangeArrowheads="1"/>
          </p:cNvPicPr>
          <p:nvPr/>
        </p:nvPicPr>
        <p:blipFill>
          <a:blip r:embed="rId10"/>
          <a:srcRect/>
          <a:stretch>
            <a:fillRect/>
          </a:stretch>
        </p:blipFill>
        <p:spPr bwMode="auto">
          <a:xfrm>
            <a:off x="1746250" y="3214688"/>
            <a:ext cx="242888" cy="252412"/>
          </a:xfrm>
          <a:prstGeom prst="rect">
            <a:avLst/>
          </a:prstGeom>
          <a:noFill/>
          <a:ln w="9525">
            <a:noFill/>
            <a:miter lim="800000"/>
            <a:headEnd/>
            <a:tailEnd/>
          </a:ln>
        </p:spPr>
      </p:pic>
      <p:pic>
        <p:nvPicPr>
          <p:cNvPr id="40971" name="Picture 12" descr="Susan Mitchell"/>
          <p:cNvPicPr>
            <a:picLocks noChangeAspect="1" noChangeArrowheads="1"/>
          </p:cNvPicPr>
          <p:nvPr/>
        </p:nvPicPr>
        <p:blipFill>
          <a:blip r:embed="rId11"/>
          <a:srcRect/>
          <a:stretch>
            <a:fillRect/>
          </a:stretch>
        </p:blipFill>
        <p:spPr bwMode="auto">
          <a:xfrm>
            <a:off x="1147763" y="2401888"/>
            <a:ext cx="244475" cy="252412"/>
          </a:xfrm>
          <a:prstGeom prst="rect">
            <a:avLst/>
          </a:prstGeom>
          <a:noFill/>
          <a:ln w="9525">
            <a:noFill/>
            <a:miter lim="800000"/>
            <a:headEnd/>
            <a:tailEnd/>
          </a:ln>
        </p:spPr>
      </p:pic>
      <p:pic>
        <p:nvPicPr>
          <p:cNvPr id="40972" name="Picture 13" descr="Laurie Miller"/>
          <p:cNvPicPr>
            <a:picLocks noChangeAspect="1" noChangeArrowheads="1"/>
          </p:cNvPicPr>
          <p:nvPr/>
        </p:nvPicPr>
        <p:blipFill>
          <a:blip r:embed="rId12"/>
          <a:srcRect/>
          <a:stretch>
            <a:fillRect/>
          </a:stretch>
        </p:blipFill>
        <p:spPr bwMode="auto">
          <a:xfrm>
            <a:off x="869950" y="2497138"/>
            <a:ext cx="244475" cy="252412"/>
          </a:xfrm>
          <a:prstGeom prst="rect">
            <a:avLst/>
          </a:prstGeom>
          <a:noFill/>
          <a:ln w="9525">
            <a:noFill/>
            <a:miter lim="800000"/>
            <a:headEnd/>
            <a:tailEnd/>
          </a:ln>
        </p:spPr>
      </p:pic>
      <p:pic>
        <p:nvPicPr>
          <p:cNvPr id="40973" name="Picture 14" descr="Grant Alvis"/>
          <p:cNvPicPr>
            <a:picLocks noChangeAspect="1" noChangeArrowheads="1"/>
          </p:cNvPicPr>
          <p:nvPr/>
        </p:nvPicPr>
        <p:blipFill>
          <a:blip r:embed="rId13"/>
          <a:srcRect/>
          <a:stretch>
            <a:fillRect/>
          </a:stretch>
        </p:blipFill>
        <p:spPr bwMode="auto">
          <a:xfrm>
            <a:off x="685800" y="2306638"/>
            <a:ext cx="244475" cy="252412"/>
          </a:xfrm>
          <a:prstGeom prst="rect">
            <a:avLst/>
          </a:prstGeom>
          <a:noFill/>
          <a:ln w="9525">
            <a:noFill/>
            <a:miter lim="800000"/>
            <a:headEnd/>
            <a:tailEnd/>
          </a:ln>
        </p:spPr>
      </p:pic>
      <p:pic>
        <p:nvPicPr>
          <p:cNvPr id="40974" name="Picture 15" descr="Chandra Singh"/>
          <p:cNvPicPr>
            <a:picLocks noChangeAspect="1" noChangeArrowheads="1"/>
          </p:cNvPicPr>
          <p:nvPr/>
        </p:nvPicPr>
        <p:blipFill>
          <a:blip r:embed="rId14"/>
          <a:srcRect/>
          <a:stretch>
            <a:fillRect/>
          </a:stretch>
        </p:blipFill>
        <p:spPr bwMode="auto">
          <a:xfrm>
            <a:off x="3221038" y="2782888"/>
            <a:ext cx="244475" cy="254000"/>
          </a:xfrm>
          <a:prstGeom prst="rect">
            <a:avLst/>
          </a:prstGeom>
          <a:noFill/>
          <a:ln w="9525">
            <a:noFill/>
            <a:miter lim="800000"/>
            <a:headEnd/>
            <a:tailEnd/>
          </a:ln>
        </p:spPr>
      </p:pic>
      <p:sp>
        <p:nvSpPr>
          <p:cNvPr id="40975" name="Line 16"/>
          <p:cNvSpPr>
            <a:spLocks noChangeShapeType="1"/>
          </p:cNvSpPr>
          <p:nvPr/>
        </p:nvSpPr>
        <p:spPr bwMode="auto">
          <a:xfrm>
            <a:off x="2124075" y="1411288"/>
            <a:ext cx="220663" cy="895350"/>
          </a:xfrm>
          <a:prstGeom prst="line">
            <a:avLst/>
          </a:prstGeom>
          <a:noFill/>
          <a:ln w="9525">
            <a:solidFill>
              <a:schemeClr val="tx1"/>
            </a:solidFill>
            <a:round/>
            <a:headEnd/>
            <a:tailEnd/>
          </a:ln>
        </p:spPr>
        <p:txBody>
          <a:bodyPr/>
          <a:lstStyle/>
          <a:p>
            <a:endParaRPr lang="en-US"/>
          </a:p>
        </p:txBody>
      </p:sp>
      <p:sp>
        <p:nvSpPr>
          <p:cNvPr id="40976" name="Line 17"/>
          <p:cNvSpPr>
            <a:spLocks noChangeShapeType="1"/>
          </p:cNvSpPr>
          <p:nvPr/>
        </p:nvSpPr>
        <p:spPr bwMode="auto">
          <a:xfrm>
            <a:off x="2438400" y="1411288"/>
            <a:ext cx="0" cy="895350"/>
          </a:xfrm>
          <a:prstGeom prst="line">
            <a:avLst/>
          </a:prstGeom>
          <a:noFill/>
          <a:ln w="9525">
            <a:solidFill>
              <a:schemeClr val="tx1"/>
            </a:solidFill>
            <a:round/>
            <a:headEnd/>
            <a:tailEnd/>
          </a:ln>
        </p:spPr>
        <p:txBody>
          <a:bodyPr/>
          <a:lstStyle/>
          <a:p>
            <a:endParaRPr lang="en-US"/>
          </a:p>
        </p:txBody>
      </p:sp>
      <p:pic>
        <p:nvPicPr>
          <p:cNvPr id="40977" name="Picture 18" descr="Ramgopal Yadav"/>
          <p:cNvPicPr>
            <a:picLocks noChangeAspect="1" noChangeArrowheads="1"/>
          </p:cNvPicPr>
          <p:nvPr/>
        </p:nvPicPr>
        <p:blipFill>
          <a:blip r:embed="rId15"/>
          <a:srcRect/>
          <a:stretch>
            <a:fillRect/>
          </a:stretch>
        </p:blipFill>
        <p:spPr bwMode="auto">
          <a:xfrm>
            <a:off x="3221038" y="3022600"/>
            <a:ext cx="244475" cy="252413"/>
          </a:xfrm>
          <a:prstGeom prst="rect">
            <a:avLst/>
          </a:prstGeom>
          <a:noFill/>
          <a:ln w="9525">
            <a:noFill/>
            <a:miter lim="800000"/>
            <a:headEnd/>
            <a:tailEnd/>
          </a:ln>
        </p:spPr>
      </p:pic>
      <p:pic>
        <p:nvPicPr>
          <p:cNvPr id="40978" name="Picture 19" descr="Cathy Fillare"/>
          <p:cNvPicPr>
            <a:picLocks noChangeAspect="1" noChangeArrowheads="1"/>
          </p:cNvPicPr>
          <p:nvPr/>
        </p:nvPicPr>
        <p:blipFill>
          <a:blip r:embed="rId16"/>
          <a:srcRect/>
          <a:stretch>
            <a:fillRect/>
          </a:stretch>
        </p:blipFill>
        <p:spPr bwMode="auto">
          <a:xfrm>
            <a:off x="917575" y="2162175"/>
            <a:ext cx="242888" cy="254000"/>
          </a:xfrm>
          <a:prstGeom prst="rect">
            <a:avLst/>
          </a:prstGeom>
          <a:noFill/>
          <a:ln w="9525">
            <a:noFill/>
            <a:miter lim="800000"/>
            <a:headEnd/>
            <a:tailEnd/>
          </a:ln>
        </p:spPr>
      </p:pic>
      <p:pic>
        <p:nvPicPr>
          <p:cNvPr id="40979" name="Picture 20" descr="Brittany D. Thompson"/>
          <p:cNvPicPr>
            <a:picLocks noChangeAspect="1" noChangeArrowheads="1"/>
          </p:cNvPicPr>
          <p:nvPr/>
        </p:nvPicPr>
        <p:blipFill>
          <a:blip r:embed="rId17"/>
          <a:srcRect/>
          <a:stretch>
            <a:fillRect/>
          </a:stretch>
        </p:blipFill>
        <p:spPr bwMode="auto">
          <a:xfrm>
            <a:off x="409575" y="2306638"/>
            <a:ext cx="244475" cy="252412"/>
          </a:xfrm>
          <a:prstGeom prst="rect">
            <a:avLst/>
          </a:prstGeom>
          <a:noFill/>
          <a:ln w="9525">
            <a:noFill/>
            <a:miter lim="800000"/>
            <a:headEnd/>
            <a:tailEnd/>
          </a:ln>
        </p:spPr>
      </p:pic>
      <p:sp>
        <p:nvSpPr>
          <p:cNvPr id="40980" name="Line 21"/>
          <p:cNvSpPr>
            <a:spLocks noChangeShapeType="1"/>
          </p:cNvSpPr>
          <p:nvPr/>
        </p:nvSpPr>
        <p:spPr bwMode="auto">
          <a:xfrm flipH="1">
            <a:off x="2528888" y="1411288"/>
            <a:ext cx="185737" cy="942975"/>
          </a:xfrm>
          <a:prstGeom prst="line">
            <a:avLst/>
          </a:prstGeom>
          <a:noFill/>
          <a:ln w="9525">
            <a:solidFill>
              <a:schemeClr val="tx1"/>
            </a:solidFill>
            <a:round/>
            <a:headEnd/>
            <a:tailEnd/>
          </a:ln>
        </p:spPr>
        <p:txBody>
          <a:bodyPr/>
          <a:lstStyle/>
          <a:p>
            <a:endParaRPr lang="en-US"/>
          </a:p>
        </p:txBody>
      </p:sp>
      <p:pic>
        <p:nvPicPr>
          <p:cNvPr id="40981" name="Picture 22" descr="Flag of India"/>
          <p:cNvPicPr>
            <a:picLocks noChangeAspect="1" noChangeArrowheads="1"/>
          </p:cNvPicPr>
          <p:nvPr/>
        </p:nvPicPr>
        <p:blipFill>
          <a:blip r:embed="rId18"/>
          <a:srcRect/>
          <a:stretch>
            <a:fillRect/>
          </a:stretch>
        </p:blipFill>
        <p:spPr bwMode="auto">
          <a:xfrm>
            <a:off x="4783138" y="3429000"/>
            <a:ext cx="215900" cy="144463"/>
          </a:xfrm>
          <a:prstGeom prst="rect">
            <a:avLst/>
          </a:prstGeom>
          <a:noFill/>
          <a:ln w="9525" algn="ctr">
            <a:solidFill>
              <a:schemeClr val="tx1"/>
            </a:solidFill>
            <a:miter lim="800000"/>
            <a:headEnd/>
            <a:tailEnd/>
          </a:ln>
        </p:spPr>
      </p:pic>
      <p:pic>
        <p:nvPicPr>
          <p:cNvPr id="40982" name="Picture 23" descr="Flag of Japan"/>
          <p:cNvPicPr>
            <a:picLocks noChangeAspect="1" noChangeArrowheads="1"/>
          </p:cNvPicPr>
          <p:nvPr/>
        </p:nvPicPr>
        <p:blipFill>
          <a:blip r:embed="rId19"/>
          <a:srcRect/>
          <a:stretch>
            <a:fillRect/>
          </a:stretch>
        </p:blipFill>
        <p:spPr bwMode="auto">
          <a:xfrm>
            <a:off x="4783138" y="2925763"/>
            <a:ext cx="215900" cy="144462"/>
          </a:xfrm>
          <a:prstGeom prst="rect">
            <a:avLst/>
          </a:prstGeom>
          <a:noFill/>
          <a:ln w="9525">
            <a:solidFill>
              <a:schemeClr val="tx1"/>
            </a:solidFill>
            <a:miter lim="800000"/>
            <a:headEnd/>
            <a:tailEnd/>
          </a:ln>
        </p:spPr>
      </p:pic>
      <p:sp>
        <p:nvSpPr>
          <p:cNvPr id="40983" name="Text Box 24"/>
          <p:cNvSpPr txBox="1">
            <a:spLocks noChangeArrowheads="1"/>
          </p:cNvSpPr>
          <p:nvPr/>
        </p:nvSpPr>
        <p:spPr bwMode="auto">
          <a:xfrm>
            <a:off x="238125" y="206375"/>
            <a:ext cx="7038975" cy="396875"/>
          </a:xfrm>
          <a:prstGeom prst="rect">
            <a:avLst/>
          </a:prstGeom>
          <a:noFill/>
          <a:ln w="9525">
            <a:noFill/>
            <a:miter lim="800000"/>
            <a:headEnd/>
            <a:tailEnd/>
          </a:ln>
        </p:spPr>
        <p:txBody>
          <a:bodyPr>
            <a:spAutoFit/>
          </a:bodyPr>
          <a:lstStyle/>
          <a:p>
            <a:endParaRPr lang="en-US" sz="2000"/>
          </a:p>
        </p:txBody>
      </p:sp>
      <p:sp>
        <p:nvSpPr>
          <p:cNvPr id="40984" name="Text Box 25"/>
          <p:cNvSpPr txBox="1">
            <a:spLocks noChangeArrowheads="1"/>
          </p:cNvSpPr>
          <p:nvPr/>
        </p:nvSpPr>
        <p:spPr bwMode="auto">
          <a:xfrm>
            <a:off x="5386388" y="1295400"/>
            <a:ext cx="3703637" cy="2597150"/>
          </a:xfrm>
          <a:prstGeom prst="rect">
            <a:avLst/>
          </a:prstGeom>
          <a:noFill/>
          <a:ln w="9525">
            <a:noFill/>
            <a:miter lim="800000"/>
            <a:headEnd/>
            <a:tailEnd/>
          </a:ln>
        </p:spPr>
        <p:txBody>
          <a:bodyPr>
            <a:spAutoFit/>
          </a:bodyPr>
          <a:lstStyle/>
          <a:p>
            <a:r>
              <a:rPr lang="fr-FR"/>
              <a:t> </a:t>
            </a:r>
            <a:r>
              <a:rPr lang="en-US"/>
              <a:t>Team Composition</a:t>
            </a:r>
            <a:endParaRPr lang="fr-FR"/>
          </a:p>
          <a:p>
            <a:pPr lvl="1">
              <a:buSzPct val="50000"/>
              <a:buFontTx/>
              <a:buChar char="•"/>
            </a:pPr>
            <a:r>
              <a:rPr lang="fr-FR" sz="1600" i="1"/>
              <a:t>15 global </a:t>
            </a:r>
            <a:r>
              <a:rPr lang="en-US" sz="1600" i="1"/>
              <a:t>representatives</a:t>
            </a:r>
          </a:p>
          <a:p>
            <a:pPr lvl="1">
              <a:buSzPct val="50000"/>
              <a:buFontTx/>
              <a:buChar char="•"/>
            </a:pPr>
            <a:r>
              <a:rPr lang="fr-FR" sz="1600" i="1"/>
              <a:t> 10 </a:t>
            </a:r>
            <a:r>
              <a:rPr lang="en-US" sz="1600" i="1"/>
              <a:t>nationalities</a:t>
            </a:r>
          </a:p>
          <a:p>
            <a:pPr lvl="1">
              <a:buSzPct val="50000"/>
              <a:buFontTx/>
              <a:buChar char="•"/>
            </a:pPr>
            <a:r>
              <a:rPr lang="fr-FR" sz="1600" i="1"/>
              <a:t>  5+ unique </a:t>
            </a:r>
            <a:r>
              <a:rPr lang="en-US" sz="1600" i="1"/>
              <a:t>professional</a:t>
            </a:r>
            <a:r>
              <a:rPr lang="fr-FR" sz="1600" i="1"/>
              <a:t> profiles</a:t>
            </a:r>
          </a:p>
          <a:p>
            <a:r>
              <a:rPr lang="fr-FR" sz="1600"/>
              <a:t>  </a:t>
            </a:r>
          </a:p>
          <a:p>
            <a:r>
              <a:rPr lang="fr-FR" sz="1600"/>
              <a:t> </a:t>
            </a:r>
            <a:r>
              <a:rPr lang="fr-FR"/>
              <a:t>Client Partners </a:t>
            </a:r>
          </a:p>
          <a:p>
            <a:pPr lvl="2">
              <a:buFontTx/>
              <a:buChar char="-"/>
            </a:pPr>
            <a:r>
              <a:rPr lang="fr-FR" sz="1600"/>
              <a:t> ALCS </a:t>
            </a:r>
          </a:p>
          <a:p>
            <a:pPr lvl="2">
              <a:buFontTx/>
              <a:buChar char="-"/>
            </a:pPr>
            <a:r>
              <a:rPr lang="fr-FR" sz="1600"/>
              <a:t> CHU Ibn Rochd  </a:t>
            </a:r>
          </a:p>
          <a:p>
            <a:pPr lvl="2">
              <a:buFontTx/>
              <a:buChar char="-"/>
            </a:pPr>
            <a:r>
              <a:rPr lang="fr-FR" sz="1600"/>
              <a:t> OFPPT   </a:t>
            </a:r>
          </a:p>
          <a:p>
            <a:pPr lvl="2">
              <a:buFontTx/>
              <a:buChar char="-"/>
            </a:pPr>
            <a:r>
              <a:rPr lang="fr-FR" sz="1600"/>
              <a:t> </a:t>
            </a:r>
            <a:r>
              <a:rPr lang="en-US" sz="1600"/>
              <a:t>Ministry</a:t>
            </a:r>
            <a:r>
              <a:rPr lang="fr-FR" sz="1600"/>
              <a:t> of </a:t>
            </a:r>
            <a:r>
              <a:rPr lang="en-US" sz="1600"/>
              <a:t>Tourism</a:t>
            </a:r>
          </a:p>
        </p:txBody>
      </p:sp>
      <p:pic>
        <p:nvPicPr>
          <p:cNvPr id="40985" name="Picture 28" descr="ANd9GcSdidn4TQUUs3XHz3OMa1CUqpHjlzNsve58GIoGF7PQBXCIkLZG"/>
          <p:cNvPicPr>
            <a:picLocks noChangeAspect="1" noChangeArrowheads="1"/>
          </p:cNvPicPr>
          <p:nvPr/>
        </p:nvPicPr>
        <p:blipFill>
          <a:blip r:embed="rId20"/>
          <a:srcRect/>
          <a:stretch>
            <a:fillRect/>
          </a:stretch>
        </p:blipFill>
        <p:spPr bwMode="auto">
          <a:xfrm>
            <a:off x="539750" y="4437063"/>
            <a:ext cx="1008063" cy="873125"/>
          </a:xfrm>
          <a:prstGeom prst="rect">
            <a:avLst/>
          </a:prstGeom>
          <a:noFill/>
          <a:ln w="9525">
            <a:noFill/>
            <a:miter lim="800000"/>
            <a:headEnd/>
            <a:tailEnd/>
          </a:ln>
        </p:spPr>
      </p:pic>
      <p:pic>
        <p:nvPicPr>
          <p:cNvPr id="40986" name="Picture 29" descr="ANd9GcQATPMSx9hOy6Hal3F3MTebmCT3b6p3W_xanMT97KgQDy3N7hdEYw"/>
          <p:cNvPicPr>
            <a:picLocks noChangeAspect="1" noChangeArrowheads="1"/>
          </p:cNvPicPr>
          <p:nvPr/>
        </p:nvPicPr>
        <p:blipFill>
          <a:blip r:embed="rId21"/>
          <a:srcRect/>
          <a:stretch>
            <a:fillRect/>
          </a:stretch>
        </p:blipFill>
        <p:spPr bwMode="auto">
          <a:xfrm>
            <a:off x="7740650" y="4448175"/>
            <a:ext cx="935038" cy="795338"/>
          </a:xfrm>
          <a:prstGeom prst="rect">
            <a:avLst/>
          </a:prstGeom>
          <a:noFill/>
          <a:ln w="9525">
            <a:noFill/>
            <a:miter lim="800000"/>
            <a:headEnd/>
            <a:tailEnd/>
          </a:ln>
        </p:spPr>
      </p:pic>
      <p:sp>
        <p:nvSpPr>
          <p:cNvPr id="40987" name="Text Box 30"/>
          <p:cNvSpPr txBox="1">
            <a:spLocks noChangeArrowheads="1"/>
          </p:cNvSpPr>
          <p:nvPr/>
        </p:nvSpPr>
        <p:spPr bwMode="auto">
          <a:xfrm>
            <a:off x="2627313" y="4437063"/>
            <a:ext cx="184150" cy="366712"/>
          </a:xfrm>
          <a:prstGeom prst="rect">
            <a:avLst/>
          </a:prstGeom>
          <a:noFill/>
          <a:ln w="9525">
            <a:noFill/>
            <a:miter lim="800000"/>
            <a:headEnd/>
            <a:tailEnd/>
          </a:ln>
        </p:spPr>
        <p:txBody>
          <a:bodyPr wrap="none">
            <a:spAutoFit/>
          </a:bodyPr>
          <a:lstStyle/>
          <a:p>
            <a:endParaRPr lang="en-US"/>
          </a:p>
        </p:txBody>
      </p:sp>
      <p:sp>
        <p:nvSpPr>
          <p:cNvPr id="40988" name="Rectangle 31"/>
          <p:cNvSpPr>
            <a:spLocks noChangeArrowheads="1"/>
          </p:cNvSpPr>
          <p:nvPr/>
        </p:nvSpPr>
        <p:spPr bwMode="auto">
          <a:xfrm>
            <a:off x="2438400" y="4300538"/>
            <a:ext cx="4535488" cy="942975"/>
          </a:xfrm>
          <a:prstGeom prst="rect">
            <a:avLst/>
          </a:prstGeom>
          <a:noFill/>
          <a:ln w="9525">
            <a:noFill/>
            <a:miter lim="800000"/>
            <a:headEnd/>
            <a:tailEnd/>
          </a:ln>
        </p:spPr>
        <p:txBody>
          <a:bodyPr>
            <a:spAutoFit/>
          </a:bodyPr>
          <a:lstStyle/>
          <a:p>
            <a:r>
              <a:rPr lang="fr-FR" sz="1400"/>
              <a:t>Gerry Broennimann, IT Development </a:t>
            </a:r>
            <a:r>
              <a:rPr lang="en-US" sz="1400"/>
              <a:t>Specialist</a:t>
            </a:r>
            <a:r>
              <a:rPr lang="fr-FR" sz="1400"/>
              <a:t> </a:t>
            </a:r>
          </a:p>
          <a:p>
            <a:r>
              <a:rPr lang="fr-FR" sz="1400"/>
              <a:t>Catherine Fillare, Education &amp; Knowledge Leader</a:t>
            </a:r>
          </a:p>
          <a:p>
            <a:r>
              <a:rPr lang="fr-FR" sz="1400"/>
              <a:t>Patrick Joussen, Project Manager, Manager</a:t>
            </a:r>
          </a:p>
          <a:p>
            <a:r>
              <a:rPr lang="fr-FR" sz="1400"/>
              <a:t>Ramgopal Yadav, SAP Technical Consultant</a:t>
            </a:r>
          </a:p>
        </p:txBody>
      </p:sp>
      <p:pic>
        <p:nvPicPr>
          <p:cNvPr id="40989" name="Picture 32" descr="ALCS+8"/>
          <p:cNvPicPr>
            <a:picLocks noChangeAspect="1" noChangeArrowheads="1"/>
          </p:cNvPicPr>
          <p:nvPr/>
        </p:nvPicPr>
        <p:blipFill>
          <a:blip r:embed="rId22"/>
          <a:srcRect/>
          <a:stretch>
            <a:fillRect/>
          </a:stretch>
        </p:blipFill>
        <p:spPr bwMode="auto">
          <a:xfrm>
            <a:off x="1042988" y="5445125"/>
            <a:ext cx="1671637" cy="1247775"/>
          </a:xfrm>
          <a:prstGeom prst="rect">
            <a:avLst/>
          </a:prstGeom>
          <a:noFill/>
          <a:ln w="9525">
            <a:noFill/>
            <a:miter lim="800000"/>
            <a:headEnd/>
            <a:tailEnd/>
          </a:ln>
        </p:spPr>
      </p:pic>
      <p:pic>
        <p:nvPicPr>
          <p:cNvPr id="40990" name="Picture 33" descr="http://2.bp.blogspot.com/-srcMGlK9aTA/U17RLUgnhAI/AAAAAAAAAeA/cXRlUiWvsZs/s1600/1_ALCS.jpg"/>
          <p:cNvPicPr>
            <a:picLocks noChangeAspect="1" noChangeArrowheads="1"/>
          </p:cNvPicPr>
          <p:nvPr/>
        </p:nvPicPr>
        <p:blipFill>
          <a:blip r:embed="rId23"/>
          <a:srcRect/>
          <a:stretch>
            <a:fillRect/>
          </a:stretch>
        </p:blipFill>
        <p:spPr bwMode="auto">
          <a:xfrm>
            <a:off x="2865438" y="5462588"/>
            <a:ext cx="1778000" cy="1243012"/>
          </a:xfrm>
          <a:prstGeom prst="rect">
            <a:avLst/>
          </a:prstGeom>
          <a:noFill/>
          <a:ln w="9525">
            <a:noFill/>
            <a:miter lim="800000"/>
            <a:headEnd/>
            <a:tailEnd/>
          </a:ln>
        </p:spPr>
      </p:pic>
      <p:pic>
        <p:nvPicPr>
          <p:cNvPr id="40991" name="Picture 34" descr="IMG_2091%5B1%5D"/>
          <p:cNvPicPr>
            <a:picLocks noChangeAspect="1" noChangeArrowheads="1"/>
          </p:cNvPicPr>
          <p:nvPr/>
        </p:nvPicPr>
        <p:blipFill>
          <a:blip r:embed="rId24"/>
          <a:srcRect/>
          <a:stretch>
            <a:fillRect/>
          </a:stretch>
        </p:blipFill>
        <p:spPr bwMode="auto">
          <a:xfrm>
            <a:off x="4787900" y="5462588"/>
            <a:ext cx="1655763" cy="1243012"/>
          </a:xfrm>
          <a:prstGeom prst="rect">
            <a:avLst/>
          </a:prstGeom>
          <a:noFill/>
          <a:ln w="9525">
            <a:noFill/>
            <a:miter lim="800000"/>
            <a:headEnd/>
            <a:tailEnd/>
          </a:ln>
        </p:spPr>
      </p:pic>
      <p:pic>
        <p:nvPicPr>
          <p:cNvPr id="40992" name="Picture 35" descr="IMG_2084%5B1%5D"/>
          <p:cNvPicPr>
            <a:picLocks noChangeAspect="1" noChangeArrowheads="1"/>
          </p:cNvPicPr>
          <p:nvPr/>
        </p:nvPicPr>
        <p:blipFill>
          <a:blip r:embed="rId25"/>
          <a:srcRect/>
          <a:stretch>
            <a:fillRect/>
          </a:stretch>
        </p:blipFill>
        <p:spPr bwMode="auto">
          <a:xfrm>
            <a:off x="6659563" y="5373688"/>
            <a:ext cx="1006475" cy="1341437"/>
          </a:xfrm>
          <a:prstGeom prst="rect">
            <a:avLst/>
          </a:prstGeom>
          <a:noFill/>
          <a:ln w="9525">
            <a:noFill/>
            <a:miter lim="800000"/>
            <a:headEnd/>
            <a:tailEnd/>
          </a:ln>
        </p:spPr>
      </p:pic>
      <p:pic>
        <p:nvPicPr>
          <p:cNvPr id="40993" name="Picture 36" descr="Flag of Switzerland"/>
          <p:cNvPicPr>
            <a:picLocks noChangeAspect="1" noChangeArrowheads="1"/>
          </p:cNvPicPr>
          <p:nvPr/>
        </p:nvPicPr>
        <p:blipFill>
          <a:blip r:embed="rId26"/>
          <a:srcRect/>
          <a:stretch>
            <a:fillRect/>
          </a:stretch>
        </p:blipFill>
        <p:spPr bwMode="auto">
          <a:xfrm>
            <a:off x="2146300" y="4406900"/>
            <a:ext cx="152400" cy="152400"/>
          </a:xfrm>
          <a:prstGeom prst="rect">
            <a:avLst/>
          </a:prstGeom>
          <a:noFill/>
          <a:ln w="9525" algn="ctr">
            <a:solidFill>
              <a:schemeClr val="tx1"/>
            </a:solidFill>
            <a:miter lim="800000"/>
            <a:headEnd/>
            <a:tailEnd/>
          </a:ln>
        </p:spPr>
      </p:pic>
      <p:pic>
        <p:nvPicPr>
          <p:cNvPr id="40994" name="Picture 37" descr="Flag of France"/>
          <p:cNvPicPr>
            <a:picLocks noChangeAspect="1" noChangeArrowheads="1"/>
          </p:cNvPicPr>
          <p:nvPr/>
        </p:nvPicPr>
        <p:blipFill>
          <a:blip r:embed="rId27"/>
          <a:srcRect/>
          <a:stretch>
            <a:fillRect/>
          </a:stretch>
        </p:blipFill>
        <p:spPr bwMode="auto">
          <a:xfrm>
            <a:off x="2124075" y="4868863"/>
            <a:ext cx="215900" cy="144462"/>
          </a:xfrm>
          <a:prstGeom prst="rect">
            <a:avLst/>
          </a:prstGeom>
          <a:noFill/>
          <a:ln w="9525">
            <a:solidFill>
              <a:schemeClr val="tx1"/>
            </a:solidFill>
            <a:miter lim="800000"/>
            <a:headEnd/>
            <a:tailEnd/>
          </a:ln>
        </p:spPr>
      </p:pic>
      <p:pic>
        <p:nvPicPr>
          <p:cNvPr id="40995" name="Picture 38" descr="Flag of India"/>
          <p:cNvPicPr>
            <a:picLocks noChangeAspect="1" noChangeArrowheads="1"/>
          </p:cNvPicPr>
          <p:nvPr/>
        </p:nvPicPr>
        <p:blipFill>
          <a:blip r:embed="rId18"/>
          <a:srcRect/>
          <a:stretch>
            <a:fillRect/>
          </a:stretch>
        </p:blipFill>
        <p:spPr bwMode="auto">
          <a:xfrm>
            <a:off x="2124075" y="5084763"/>
            <a:ext cx="215900" cy="144462"/>
          </a:xfrm>
          <a:prstGeom prst="rect">
            <a:avLst/>
          </a:prstGeom>
          <a:noFill/>
          <a:ln w="9525" algn="ctr">
            <a:solidFill>
              <a:schemeClr val="tx1"/>
            </a:solidFill>
            <a:miter lim="800000"/>
            <a:headEnd/>
            <a:tailEnd/>
          </a:ln>
        </p:spPr>
      </p:pic>
      <p:pic>
        <p:nvPicPr>
          <p:cNvPr id="40996" name="Picture 39" descr="Flag of United States"/>
          <p:cNvPicPr>
            <a:picLocks noChangeAspect="1" noChangeArrowheads="1"/>
          </p:cNvPicPr>
          <p:nvPr/>
        </p:nvPicPr>
        <p:blipFill>
          <a:blip r:embed="rId28"/>
          <a:srcRect/>
          <a:stretch>
            <a:fillRect/>
          </a:stretch>
        </p:blipFill>
        <p:spPr bwMode="auto">
          <a:xfrm>
            <a:off x="2124075" y="4652963"/>
            <a:ext cx="215900" cy="114300"/>
          </a:xfrm>
          <a:prstGeom prst="rect">
            <a:avLst/>
          </a:prstGeom>
          <a:noFill/>
          <a:ln w="9525" algn="ctr">
            <a:solidFill>
              <a:schemeClr val="tx1"/>
            </a:solidFill>
            <a:miter lim="800000"/>
            <a:headEnd/>
            <a:tailEnd/>
          </a:ln>
        </p:spPr>
      </p:pic>
      <p:pic>
        <p:nvPicPr>
          <p:cNvPr id="40997" name="Picture 40" descr="Flag of Morocco"/>
          <p:cNvPicPr>
            <a:picLocks noChangeAspect="1" noChangeArrowheads="1"/>
          </p:cNvPicPr>
          <p:nvPr/>
        </p:nvPicPr>
        <p:blipFill>
          <a:blip r:embed="rId29"/>
          <a:srcRect/>
          <a:stretch>
            <a:fillRect/>
          </a:stretch>
        </p:blipFill>
        <p:spPr bwMode="auto">
          <a:xfrm>
            <a:off x="5537200" y="3092450"/>
            <a:ext cx="720725" cy="481013"/>
          </a:xfrm>
          <a:prstGeom prst="rect">
            <a:avLst/>
          </a:prstGeom>
          <a:noFill/>
          <a:ln w="9525">
            <a:noFill/>
            <a:miter lim="800000"/>
            <a:headEnd/>
            <a:tailEnd/>
          </a:ln>
        </p:spPr>
      </p:pic>
      <p:sp>
        <p:nvSpPr>
          <p:cNvPr id="40998" name="AutoShape 41" descr="9k="/>
          <p:cNvSpPr>
            <a:spLocks noChangeAspect="1" noChangeArrowheads="1"/>
          </p:cNvSpPr>
          <p:nvPr/>
        </p:nvSpPr>
        <p:spPr bwMode="auto">
          <a:xfrm>
            <a:off x="3929063" y="3000375"/>
            <a:ext cx="1285875" cy="857250"/>
          </a:xfrm>
          <a:prstGeom prst="rect">
            <a:avLst/>
          </a:prstGeom>
          <a:noFill/>
          <a:ln w="9525">
            <a:noFill/>
            <a:miter lim="800000"/>
            <a:headEnd/>
            <a:tailEnd/>
          </a:ln>
        </p:spPr>
        <p:txBody>
          <a:bodyPr/>
          <a:lstStyle/>
          <a:p>
            <a:endParaRPr lang="en-US"/>
          </a:p>
        </p:txBody>
      </p:sp>
      <p:sp>
        <p:nvSpPr>
          <p:cNvPr id="40999" name="AutoShape 42" descr="9k="/>
          <p:cNvSpPr>
            <a:spLocks noChangeAspect="1" noChangeArrowheads="1"/>
          </p:cNvSpPr>
          <p:nvPr/>
        </p:nvSpPr>
        <p:spPr bwMode="auto">
          <a:xfrm>
            <a:off x="3929063" y="3000375"/>
            <a:ext cx="1285875" cy="857250"/>
          </a:xfrm>
          <a:prstGeom prst="rect">
            <a:avLst/>
          </a:prstGeom>
          <a:noFill/>
          <a:ln w="9525">
            <a:noFill/>
            <a:miter lim="800000"/>
            <a:headEnd/>
            <a:tailEnd/>
          </a:ln>
        </p:spPr>
        <p:txBody>
          <a:bodyPr/>
          <a:lstStyle/>
          <a:p>
            <a:endParaRPr lang="en-US"/>
          </a:p>
        </p:txBody>
      </p:sp>
      <p:sp>
        <p:nvSpPr>
          <p:cNvPr id="41000" name="AutoShape 43" descr="9k="/>
          <p:cNvSpPr>
            <a:spLocks noChangeAspect="1" noChangeArrowheads="1"/>
          </p:cNvSpPr>
          <p:nvPr/>
        </p:nvSpPr>
        <p:spPr bwMode="auto">
          <a:xfrm>
            <a:off x="3924300" y="2997200"/>
            <a:ext cx="1285875" cy="857250"/>
          </a:xfrm>
          <a:prstGeom prst="rect">
            <a:avLst/>
          </a:prstGeom>
          <a:noFill/>
          <a:ln w="9525">
            <a:noFill/>
            <a:miter lim="800000"/>
            <a:headEnd/>
            <a:tailEnd/>
          </a:ln>
        </p:spPr>
        <p:txBody>
          <a:bodyPr/>
          <a:lstStyle/>
          <a:p>
            <a:endParaRPr lang="en-US"/>
          </a:p>
        </p:txBody>
      </p:sp>
      <p:pic>
        <p:nvPicPr>
          <p:cNvPr id="41001" name="Picture 44"/>
          <p:cNvPicPr>
            <a:picLocks noChangeAspect="1" noChangeArrowheads="1"/>
          </p:cNvPicPr>
          <p:nvPr/>
        </p:nvPicPr>
        <p:blipFill>
          <a:blip r:embed="rId30"/>
          <a:srcRect/>
          <a:stretch>
            <a:fillRect/>
          </a:stretch>
        </p:blipFill>
        <p:spPr bwMode="auto">
          <a:xfrm>
            <a:off x="4787900" y="3716338"/>
            <a:ext cx="215900" cy="144462"/>
          </a:xfrm>
          <a:prstGeom prst="rect">
            <a:avLst/>
          </a:prstGeom>
          <a:noFill/>
          <a:ln w="9525">
            <a:noFill/>
            <a:miter lim="800000"/>
            <a:headEnd/>
            <a:tailEnd/>
          </a:ln>
        </p:spPr>
      </p:pic>
      <p:pic>
        <p:nvPicPr>
          <p:cNvPr id="41002" name="Picture 45" descr="Flag of United States"/>
          <p:cNvPicPr>
            <a:picLocks noChangeAspect="1" noChangeArrowheads="1"/>
          </p:cNvPicPr>
          <p:nvPr/>
        </p:nvPicPr>
        <p:blipFill>
          <a:blip r:embed="rId28"/>
          <a:srcRect/>
          <a:stretch>
            <a:fillRect/>
          </a:stretch>
        </p:blipFill>
        <p:spPr bwMode="auto">
          <a:xfrm>
            <a:off x="4783138" y="3236913"/>
            <a:ext cx="215900" cy="114300"/>
          </a:xfrm>
          <a:prstGeom prst="rect">
            <a:avLst/>
          </a:prstGeom>
          <a:noFill/>
          <a:ln w="9525" algn="ctr">
            <a:solidFill>
              <a:schemeClr val="tx1"/>
            </a:solidFill>
            <a:miter lim="800000"/>
            <a:headEnd/>
            <a:tailEnd/>
          </a:ln>
        </p:spPr>
      </p:pic>
      <p:pic>
        <p:nvPicPr>
          <p:cNvPr id="41003" name="Picture 46" descr="Flag of Switzerland"/>
          <p:cNvPicPr>
            <a:picLocks noChangeAspect="1" noChangeArrowheads="1"/>
          </p:cNvPicPr>
          <p:nvPr/>
        </p:nvPicPr>
        <p:blipFill>
          <a:blip r:embed="rId26"/>
          <a:srcRect/>
          <a:stretch>
            <a:fillRect/>
          </a:stretch>
        </p:blipFill>
        <p:spPr bwMode="auto">
          <a:xfrm>
            <a:off x="4783138" y="2659063"/>
            <a:ext cx="152400" cy="152400"/>
          </a:xfrm>
          <a:prstGeom prst="rect">
            <a:avLst/>
          </a:prstGeom>
          <a:noFill/>
          <a:ln w="9525" algn="ctr">
            <a:solidFill>
              <a:schemeClr val="tx1"/>
            </a:solidFill>
            <a:miter lim="800000"/>
            <a:headEnd/>
            <a:tailEnd/>
          </a:ln>
        </p:spPr>
      </p:pic>
      <p:pic>
        <p:nvPicPr>
          <p:cNvPr id="41004" name="Picture 47" descr="Flag of Canada"/>
          <p:cNvPicPr>
            <a:picLocks noChangeAspect="1" noChangeArrowheads="1"/>
          </p:cNvPicPr>
          <p:nvPr/>
        </p:nvPicPr>
        <p:blipFill>
          <a:blip r:embed="rId31"/>
          <a:srcRect/>
          <a:stretch>
            <a:fillRect/>
          </a:stretch>
        </p:blipFill>
        <p:spPr bwMode="auto">
          <a:xfrm>
            <a:off x="4783138" y="2425700"/>
            <a:ext cx="215900" cy="107950"/>
          </a:xfrm>
          <a:prstGeom prst="rect">
            <a:avLst/>
          </a:prstGeom>
          <a:noFill/>
          <a:ln w="9525">
            <a:solidFill>
              <a:schemeClr val="tx1"/>
            </a:solidFill>
            <a:miter lim="800000"/>
            <a:headEnd/>
            <a:tailEnd/>
          </a:ln>
        </p:spPr>
      </p:pic>
      <p:pic>
        <p:nvPicPr>
          <p:cNvPr id="41005" name="Picture 48" descr="Flag of Israel"/>
          <p:cNvPicPr>
            <a:picLocks noChangeAspect="1" noChangeArrowheads="1"/>
          </p:cNvPicPr>
          <p:nvPr/>
        </p:nvPicPr>
        <p:blipFill>
          <a:blip r:embed="rId32"/>
          <a:srcRect/>
          <a:stretch>
            <a:fillRect/>
          </a:stretch>
        </p:blipFill>
        <p:spPr bwMode="auto">
          <a:xfrm>
            <a:off x="4783138" y="1833563"/>
            <a:ext cx="220662" cy="160337"/>
          </a:xfrm>
          <a:prstGeom prst="rect">
            <a:avLst/>
          </a:prstGeom>
          <a:noFill/>
          <a:ln w="9525">
            <a:solidFill>
              <a:schemeClr val="tx1"/>
            </a:solidFill>
            <a:miter lim="800000"/>
            <a:headEnd/>
            <a:tailEnd/>
          </a:ln>
        </p:spPr>
      </p:pic>
      <p:pic>
        <p:nvPicPr>
          <p:cNvPr id="41006" name="Picture 49" descr="Flag of Brazil"/>
          <p:cNvPicPr>
            <a:picLocks noChangeAspect="1" noChangeArrowheads="1"/>
          </p:cNvPicPr>
          <p:nvPr/>
        </p:nvPicPr>
        <p:blipFill>
          <a:blip r:embed="rId33"/>
          <a:srcRect/>
          <a:stretch>
            <a:fillRect/>
          </a:stretch>
        </p:blipFill>
        <p:spPr bwMode="auto">
          <a:xfrm>
            <a:off x="4783138" y="2093913"/>
            <a:ext cx="215900" cy="150812"/>
          </a:xfrm>
          <a:prstGeom prst="rect">
            <a:avLst/>
          </a:prstGeom>
          <a:noFill/>
          <a:ln w="9525" algn="ctr">
            <a:solidFill>
              <a:schemeClr val="tx1"/>
            </a:solidFill>
            <a:miter lim="800000"/>
            <a:headEnd/>
            <a:tailEnd/>
          </a:ln>
        </p:spPr>
      </p:pic>
      <p:pic>
        <p:nvPicPr>
          <p:cNvPr id="41007" name="Picture 50" descr="Flag of France"/>
          <p:cNvPicPr>
            <a:picLocks noChangeAspect="1" noChangeArrowheads="1"/>
          </p:cNvPicPr>
          <p:nvPr/>
        </p:nvPicPr>
        <p:blipFill>
          <a:blip r:embed="rId27"/>
          <a:srcRect/>
          <a:stretch>
            <a:fillRect/>
          </a:stretch>
        </p:blipFill>
        <p:spPr bwMode="auto">
          <a:xfrm>
            <a:off x="4778375" y="1554163"/>
            <a:ext cx="215900" cy="144462"/>
          </a:xfrm>
          <a:prstGeom prst="rect">
            <a:avLst/>
          </a:prstGeom>
          <a:noFill/>
          <a:ln w="9525">
            <a:solidFill>
              <a:schemeClr val="tx1"/>
            </a:solidFill>
            <a:miter lim="800000"/>
            <a:headEnd/>
            <a:tailEnd/>
          </a:ln>
        </p:spPr>
      </p:pic>
      <p:pic>
        <p:nvPicPr>
          <p:cNvPr id="41008" name="Picture 51" descr="Flag of Slovakia"/>
          <p:cNvPicPr>
            <a:picLocks noChangeAspect="1" noChangeArrowheads="1"/>
          </p:cNvPicPr>
          <p:nvPr/>
        </p:nvPicPr>
        <p:blipFill>
          <a:blip r:embed="rId34"/>
          <a:srcRect/>
          <a:stretch>
            <a:fillRect/>
          </a:stretch>
        </p:blipFill>
        <p:spPr bwMode="auto">
          <a:xfrm>
            <a:off x="4778375" y="1266825"/>
            <a:ext cx="215900" cy="144463"/>
          </a:xfrm>
          <a:prstGeom prst="rect">
            <a:avLst/>
          </a:prstGeom>
          <a:noFill/>
          <a:ln w="9525">
            <a:solidFill>
              <a:schemeClr val="tx1"/>
            </a:solidFill>
            <a:miter lim="800000"/>
            <a:headEnd/>
            <a:tailEnd/>
          </a:ln>
        </p:spPr>
      </p:pic>
      <p:sp>
        <p:nvSpPr>
          <p:cNvPr id="41009" name="Rectangle 53"/>
          <p:cNvSpPr>
            <a:spLocks noChangeArrowheads="1"/>
          </p:cNvSpPr>
          <p:nvPr/>
        </p:nvSpPr>
        <p:spPr bwMode="auto">
          <a:xfrm>
            <a:off x="238125" y="603250"/>
            <a:ext cx="5010150" cy="366713"/>
          </a:xfrm>
          <a:prstGeom prst="rect">
            <a:avLst/>
          </a:prstGeom>
          <a:noFill/>
          <a:ln w="9525">
            <a:noFill/>
            <a:miter lim="800000"/>
            <a:headEnd/>
            <a:tailEnd/>
          </a:ln>
        </p:spPr>
        <p:txBody>
          <a:bodyPr wrap="none">
            <a:spAutoFit/>
          </a:bodyPr>
          <a:lstStyle/>
          <a:p>
            <a:r>
              <a:rPr lang="en-US">
                <a:solidFill>
                  <a:srgbClr val="000000"/>
                </a:solidFill>
              </a:rPr>
              <a:t>IBM Corporate Service Corps Morocco 5 Team </a:t>
            </a:r>
          </a:p>
        </p:txBody>
      </p:sp>
      <p:pic>
        <p:nvPicPr>
          <p:cNvPr id="41011" name="Picture 2"/>
          <p:cNvPicPr>
            <a:picLocks noChangeAspect="1" noChangeArrowheads="1"/>
          </p:cNvPicPr>
          <p:nvPr/>
        </p:nvPicPr>
        <p:blipFill>
          <a:blip r:embed="rId35"/>
          <a:srcRect/>
          <a:stretch>
            <a:fillRect/>
          </a:stretch>
        </p:blipFill>
        <p:spPr bwMode="auto">
          <a:xfrm>
            <a:off x="5545138" y="449263"/>
            <a:ext cx="1428750" cy="3079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Title 1"/>
          <p:cNvSpPr>
            <a:spLocks noGrp="1"/>
          </p:cNvSpPr>
          <p:nvPr>
            <p:ph type="title"/>
          </p:nvPr>
        </p:nvSpPr>
        <p:spPr>
          <a:xfrm>
            <a:off x="2286000" y="549275"/>
            <a:ext cx="4157663" cy="363538"/>
          </a:xfrm>
          <a:ln w="28575">
            <a:solidFill>
              <a:srgbClr val="C00000"/>
            </a:solidFill>
          </a:ln>
        </p:spPr>
        <p:txBody>
          <a:bodyPr/>
          <a:lstStyle/>
          <a:p>
            <a:pPr eaLnBrk="1" hangingPunct="1"/>
            <a:r>
              <a:rPr lang="en-US" b="1" smtClean="0"/>
              <a:t>Project Creation and Validation</a:t>
            </a:r>
          </a:p>
        </p:txBody>
      </p:sp>
      <p:sp>
        <p:nvSpPr>
          <p:cNvPr id="1028" name="Line 4"/>
          <p:cNvSpPr>
            <a:spLocks noChangeShapeType="1"/>
          </p:cNvSpPr>
          <p:nvPr/>
        </p:nvSpPr>
        <p:spPr bwMode="auto">
          <a:xfrm flipV="1">
            <a:off x="274638" y="549275"/>
            <a:ext cx="8594725" cy="0"/>
          </a:xfrm>
          <a:prstGeom prst="line">
            <a:avLst/>
          </a:prstGeom>
          <a:noFill/>
          <a:ln w="9525">
            <a:solidFill>
              <a:schemeClr val="tx1"/>
            </a:solidFill>
            <a:round/>
            <a:headEnd/>
            <a:tailEnd/>
          </a:ln>
        </p:spPr>
        <p:txBody>
          <a:bodyPr/>
          <a:lstStyle/>
          <a:p>
            <a:endParaRPr lang="en-US"/>
          </a:p>
        </p:txBody>
      </p:sp>
      <p:sp>
        <p:nvSpPr>
          <p:cNvPr id="1029" name="Rectangle 2"/>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graphicFrame>
        <p:nvGraphicFramePr>
          <p:cNvPr id="1026" name="Object 1"/>
          <p:cNvGraphicFramePr>
            <a:graphicFrameLocks noChangeAspect="1"/>
          </p:cNvGraphicFramePr>
          <p:nvPr/>
        </p:nvGraphicFramePr>
        <p:xfrm>
          <a:off x="1779588" y="1052513"/>
          <a:ext cx="5600700" cy="1800225"/>
        </p:xfrm>
        <a:graphic>
          <a:graphicData uri="http://schemas.openxmlformats.org/presentationml/2006/ole">
            <p:oleObj spid="_x0000_s1026" name="Visio" r:id="rId3" imgW="6721798" imgH="1931375" progId="">
              <p:embed/>
            </p:oleObj>
          </a:graphicData>
        </a:graphic>
      </p:graphicFrame>
      <p:sp>
        <p:nvSpPr>
          <p:cNvPr id="10" name="TextBox 9"/>
          <p:cNvSpPr txBox="1"/>
          <p:nvPr/>
        </p:nvSpPr>
        <p:spPr>
          <a:xfrm>
            <a:off x="611188" y="2997200"/>
            <a:ext cx="8064500" cy="3646488"/>
          </a:xfrm>
          <a:prstGeom prst="rect">
            <a:avLst/>
          </a:prstGeom>
        </p:spPr>
        <p:style>
          <a:lnRef idx="2">
            <a:schemeClr val="accent2"/>
          </a:lnRef>
          <a:fillRef idx="1">
            <a:schemeClr val="lt1"/>
          </a:fillRef>
          <a:effectRef idx="0">
            <a:schemeClr val="accent2"/>
          </a:effectRef>
          <a:fontRef idx="minor">
            <a:schemeClr val="dk1"/>
          </a:fontRef>
        </p:style>
        <p:txBody>
          <a:bodyPr>
            <a:spAutoFit/>
          </a:bodyPr>
          <a:lstStyle/>
          <a:p>
            <a:pPr>
              <a:lnSpc>
                <a:spcPct val="150000"/>
              </a:lnSpc>
              <a:buFont typeface="Wingdings" pitchFamily="2" charset="2"/>
              <a:buChar char="Ø"/>
              <a:defRPr/>
            </a:pPr>
            <a:r>
              <a:rPr lang="en-US" sz="1400" dirty="0"/>
              <a:t>Project will be created by DAF or group of Individuals having access to create projects</a:t>
            </a:r>
          </a:p>
          <a:p>
            <a:pPr>
              <a:lnSpc>
                <a:spcPct val="150000"/>
              </a:lnSpc>
              <a:buFont typeface="Wingdings" pitchFamily="2" charset="2"/>
              <a:buChar char="Ø"/>
              <a:defRPr/>
            </a:pPr>
            <a:r>
              <a:rPr lang="en-US" sz="1400" dirty="0"/>
              <a:t>Every project needs to validated</a:t>
            </a:r>
          </a:p>
          <a:p>
            <a:pPr>
              <a:lnSpc>
                <a:spcPct val="150000"/>
              </a:lnSpc>
              <a:buFont typeface="Wingdings" pitchFamily="2" charset="2"/>
              <a:buChar char="Ø"/>
              <a:defRPr/>
            </a:pPr>
            <a:r>
              <a:rPr lang="en-US" sz="1400" dirty="0"/>
              <a:t>Any Individual from user group could be a person to validate project definition</a:t>
            </a:r>
          </a:p>
          <a:p>
            <a:pPr>
              <a:lnSpc>
                <a:spcPct val="150000"/>
              </a:lnSpc>
              <a:buFont typeface="Wingdings" pitchFamily="2" charset="2"/>
              <a:buChar char="Ø"/>
              <a:defRPr/>
            </a:pPr>
            <a:r>
              <a:rPr lang="en-US" sz="1400" dirty="0"/>
              <a:t>Every change done in project definition needs to be validated</a:t>
            </a:r>
          </a:p>
          <a:p>
            <a:pPr>
              <a:lnSpc>
                <a:spcPct val="150000"/>
              </a:lnSpc>
              <a:buFont typeface="Wingdings" pitchFamily="2" charset="2"/>
              <a:buChar char="Ø"/>
              <a:defRPr/>
            </a:pPr>
            <a:r>
              <a:rPr lang="en-US" sz="1400" dirty="0"/>
              <a:t>Project will include Fixed &amp; Variables attributes</a:t>
            </a:r>
          </a:p>
          <a:p>
            <a:pPr>
              <a:lnSpc>
                <a:spcPct val="150000"/>
              </a:lnSpc>
              <a:buFont typeface="Wingdings" pitchFamily="2" charset="2"/>
              <a:buChar char="Ø"/>
              <a:defRPr/>
            </a:pPr>
            <a:r>
              <a:rPr lang="en-US" sz="1400" dirty="0"/>
              <a:t>Project may have Financial or Operational activities or both depending on nature of project</a:t>
            </a:r>
          </a:p>
          <a:p>
            <a:pPr>
              <a:lnSpc>
                <a:spcPct val="150000"/>
              </a:lnSpc>
              <a:buFont typeface="Wingdings" pitchFamily="2" charset="2"/>
              <a:buChar char="Ø"/>
              <a:defRPr/>
            </a:pPr>
            <a:r>
              <a:rPr lang="en-US" sz="1400" dirty="0"/>
              <a:t>Financial activities will be used for payment processing </a:t>
            </a:r>
          </a:p>
          <a:p>
            <a:pPr>
              <a:lnSpc>
                <a:spcPct val="150000"/>
              </a:lnSpc>
              <a:buFont typeface="Wingdings" pitchFamily="2" charset="2"/>
              <a:buChar char="Ø"/>
              <a:defRPr/>
            </a:pPr>
            <a:r>
              <a:rPr lang="en-US" sz="1400" dirty="0"/>
              <a:t>Operational activities will be the referenced points for capturing operational data</a:t>
            </a:r>
          </a:p>
          <a:p>
            <a:pPr>
              <a:lnSpc>
                <a:spcPct val="150000"/>
              </a:lnSpc>
              <a:buFont typeface="Wingdings" pitchFamily="2" charset="2"/>
              <a:buChar char="Ø"/>
              <a:defRPr/>
            </a:pPr>
            <a:r>
              <a:rPr lang="en-US" sz="1400" dirty="0"/>
              <a:t>Each activity may have budget categories which may also break down to subcategories</a:t>
            </a:r>
          </a:p>
          <a:p>
            <a:pPr>
              <a:lnSpc>
                <a:spcPct val="150000"/>
              </a:lnSpc>
              <a:buFont typeface="Wingdings" pitchFamily="2" charset="2"/>
              <a:buChar char="Ø"/>
              <a:defRPr/>
            </a:pPr>
            <a:r>
              <a:rPr lang="en-US" sz="1400" dirty="0"/>
              <a:t>Comments field will be added for person validating projects to specify reasons for rejection</a:t>
            </a:r>
          </a:p>
          <a:p>
            <a:pPr>
              <a:lnSpc>
                <a:spcPct val="150000"/>
              </a:lnSpc>
              <a:buFont typeface="Wingdings" pitchFamily="2" charset="2"/>
              <a:buChar char="Ø"/>
              <a:defRPr/>
            </a:pPr>
            <a:r>
              <a:rPr lang="en-US" sz="1400" dirty="0"/>
              <a:t>A log will be created for all modifications to the project definition including approval and </a:t>
            </a:r>
            <a:r>
              <a:rPr lang="en-US" sz="1400" dirty="0"/>
              <a:t>rejections</a:t>
            </a:r>
            <a:endParaRPr lang="en-US" sz="1400"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1" name="Title 1"/>
          <p:cNvSpPr>
            <a:spLocks noGrp="1"/>
          </p:cNvSpPr>
          <p:nvPr>
            <p:ph type="title"/>
          </p:nvPr>
        </p:nvSpPr>
        <p:spPr>
          <a:xfrm>
            <a:off x="1908175" y="549275"/>
            <a:ext cx="5111750" cy="363538"/>
          </a:xfrm>
          <a:ln w="28575">
            <a:solidFill>
              <a:srgbClr val="C00000"/>
            </a:solidFill>
          </a:ln>
        </p:spPr>
        <p:txBody>
          <a:bodyPr/>
          <a:lstStyle/>
          <a:p>
            <a:pPr eaLnBrk="1" hangingPunct="1"/>
            <a:r>
              <a:rPr lang="en-US" b="1" smtClean="0"/>
              <a:t>Payment Request and Approval Process</a:t>
            </a:r>
          </a:p>
        </p:txBody>
      </p:sp>
      <p:sp>
        <p:nvSpPr>
          <p:cNvPr id="2052" name="Line 4"/>
          <p:cNvSpPr>
            <a:spLocks noChangeShapeType="1"/>
          </p:cNvSpPr>
          <p:nvPr/>
        </p:nvSpPr>
        <p:spPr bwMode="auto">
          <a:xfrm flipV="1">
            <a:off x="274638" y="549275"/>
            <a:ext cx="8594725" cy="0"/>
          </a:xfrm>
          <a:prstGeom prst="line">
            <a:avLst/>
          </a:prstGeom>
          <a:noFill/>
          <a:ln w="9525">
            <a:solidFill>
              <a:schemeClr val="tx1"/>
            </a:solidFill>
            <a:round/>
            <a:headEnd/>
            <a:tailEnd/>
          </a:ln>
        </p:spPr>
        <p:txBody>
          <a:bodyPr/>
          <a:lstStyle/>
          <a:p>
            <a:endParaRPr lang="en-US"/>
          </a:p>
        </p:txBody>
      </p:sp>
      <p:sp>
        <p:nvSpPr>
          <p:cNvPr id="2053" name="Rectangle 2"/>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sp>
        <p:nvSpPr>
          <p:cNvPr id="2054" name="Rectangle 4"/>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graphicFrame>
        <p:nvGraphicFramePr>
          <p:cNvPr id="2050" name="Object 2"/>
          <p:cNvGraphicFramePr>
            <a:graphicFrameLocks noChangeAspect="1"/>
          </p:cNvGraphicFramePr>
          <p:nvPr/>
        </p:nvGraphicFramePr>
        <p:xfrm>
          <a:off x="571500" y="1412875"/>
          <a:ext cx="8032750" cy="4608513"/>
        </p:xfrm>
        <a:graphic>
          <a:graphicData uri="http://schemas.openxmlformats.org/presentationml/2006/ole">
            <p:oleObj spid="_x0000_s2050" name="Visio" r:id="rId3" imgW="6116320" imgH="3501039" progId="">
              <p:embed/>
            </p:oleObj>
          </a:graphicData>
        </a:graphic>
      </p:graphicFrame>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1" name="Line 4"/>
          <p:cNvSpPr>
            <a:spLocks noChangeShapeType="1"/>
          </p:cNvSpPr>
          <p:nvPr/>
        </p:nvSpPr>
        <p:spPr bwMode="auto">
          <a:xfrm flipV="1">
            <a:off x="274638" y="549275"/>
            <a:ext cx="8594725" cy="0"/>
          </a:xfrm>
          <a:prstGeom prst="line">
            <a:avLst/>
          </a:prstGeom>
          <a:noFill/>
          <a:ln w="9525">
            <a:solidFill>
              <a:schemeClr val="tx1"/>
            </a:solidFill>
            <a:round/>
            <a:headEnd/>
            <a:tailEnd/>
          </a:ln>
        </p:spPr>
        <p:txBody>
          <a:bodyPr/>
          <a:lstStyle/>
          <a:p>
            <a:endParaRPr lang="en-US"/>
          </a:p>
        </p:txBody>
      </p:sp>
      <p:sp>
        <p:nvSpPr>
          <p:cNvPr id="71682" name="Rectangle 2"/>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sp>
        <p:nvSpPr>
          <p:cNvPr id="11" name="TextBox 10"/>
          <p:cNvSpPr txBox="1"/>
          <p:nvPr/>
        </p:nvSpPr>
        <p:spPr>
          <a:xfrm>
            <a:off x="539750" y="1268413"/>
            <a:ext cx="8064500" cy="5016500"/>
          </a:xfrm>
          <a:prstGeom prst="rect">
            <a:avLst/>
          </a:prstGeom>
        </p:spPr>
        <p:style>
          <a:lnRef idx="2">
            <a:schemeClr val="accent2"/>
          </a:lnRef>
          <a:fillRef idx="1">
            <a:schemeClr val="lt1"/>
          </a:fillRef>
          <a:effectRef idx="0">
            <a:schemeClr val="accent2"/>
          </a:effectRef>
          <a:fontRef idx="minor">
            <a:schemeClr val="dk1"/>
          </a:fontRef>
        </p:style>
        <p:txBody>
          <a:bodyPr>
            <a:spAutoFit/>
          </a:bodyPr>
          <a:lstStyle/>
          <a:p>
            <a:pPr>
              <a:lnSpc>
                <a:spcPct val="150000"/>
              </a:lnSpc>
              <a:buFont typeface="Wingdings" pitchFamily="2" charset="2"/>
              <a:buChar char="Ø"/>
              <a:defRPr/>
            </a:pPr>
            <a:r>
              <a:rPr lang="en-US" sz="1600" dirty="0"/>
              <a:t>Payment request will </a:t>
            </a:r>
            <a:r>
              <a:rPr lang="en-US" sz="1600" dirty="0"/>
              <a:t>be created by </a:t>
            </a:r>
            <a:r>
              <a:rPr lang="en-US" sz="1600" dirty="0"/>
              <a:t>Project leads, DAF </a:t>
            </a:r>
            <a:r>
              <a:rPr lang="en-US" sz="1600" dirty="0"/>
              <a:t>or group of Individuals having access to create </a:t>
            </a:r>
            <a:r>
              <a:rPr lang="en-US" sz="1600" dirty="0"/>
              <a:t>payment request</a:t>
            </a:r>
          </a:p>
          <a:p>
            <a:pPr>
              <a:lnSpc>
                <a:spcPct val="150000"/>
              </a:lnSpc>
              <a:buFont typeface="Wingdings" pitchFamily="2" charset="2"/>
              <a:buChar char="Ø"/>
              <a:defRPr/>
            </a:pPr>
            <a:r>
              <a:rPr lang="en-US" sz="1600" dirty="0"/>
              <a:t>Static information should be pre-populated after keying in project id/ project name</a:t>
            </a:r>
          </a:p>
          <a:p>
            <a:pPr>
              <a:lnSpc>
                <a:spcPct val="150000"/>
              </a:lnSpc>
              <a:buFont typeface="Wingdings" pitchFamily="2" charset="2"/>
              <a:buChar char="Ø"/>
              <a:defRPr/>
            </a:pPr>
            <a:r>
              <a:rPr lang="en-US" sz="1600" dirty="0"/>
              <a:t>Every payment request needs </a:t>
            </a:r>
            <a:r>
              <a:rPr lang="en-US" sz="1600" dirty="0"/>
              <a:t>to </a:t>
            </a:r>
            <a:r>
              <a:rPr lang="en-US" sz="1600" dirty="0"/>
              <a:t>validated by Program Director and DAF</a:t>
            </a:r>
            <a:endParaRPr lang="en-US" sz="1600" dirty="0"/>
          </a:p>
          <a:p>
            <a:pPr>
              <a:buFont typeface="Wingdings" pitchFamily="2" charset="2"/>
              <a:buChar char="Ø"/>
              <a:defRPr/>
            </a:pPr>
            <a:r>
              <a:rPr lang="en-US" sz="1600" dirty="0"/>
              <a:t>Payment requests should have supporting </a:t>
            </a:r>
            <a:r>
              <a:rPr lang="en-US" sz="1600" dirty="0"/>
              <a:t>documents for the approval, no payment will be processed without these attachments</a:t>
            </a:r>
          </a:p>
          <a:p>
            <a:pPr>
              <a:lnSpc>
                <a:spcPct val="150000"/>
              </a:lnSpc>
              <a:buFont typeface="Wingdings" pitchFamily="2" charset="2"/>
              <a:buChar char="Ø"/>
              <a:defRPr/>
            </a:pPr>
            <a:r>
              <a:rPr lang="en-US" sz="1600" dirty="0"/>
              <a:t>Approver may reject for revision or approve for next steps</a:t>
            </a:r>
          </a:p>
          <a:p>
            <a:pPr>
              <a:lnSpc>
                <a:spcPct val="150000"/>
              </a:lnSpc>
              <a:buFont typeface="Wingdings" pitchFamily="2" charset="2"/>
              <a:buChar char="Ø"/>
              <a:defRPr/>
            </a:pPr>
            <a:r>
              <a:rPr lang="en-US" sz="1600" dirty="0"/>
              <a:t>Approver’s will have same view of data as person creating it with additional field comments for capturing reasons for rejection or any guidelines</a:t>
            </a:r>
          </a:p>
          <a:p>
            <a:pPr>
              <a:lnSpc>
                <a:spcPct val="150000"/>
              </a:lnSpc>
              <a:buFont typeface="Wingdings" pitchFamily="2" charset="2"/>
              <a:buChar char="Ø"/>
              <a:defRPr/>
            </a:pPr>
            <a:r>
              <a:rPr lang="en-US" sz="1600" dirty="0"/>
              <a:t>Business rules for basic validation and alerts; mandatory clarification</a:t>
            </a:r>
          </a:p>
          <a:p>
            <a:pPr>
              <a:lnSpc>
                <a:spcPct val="150000"/>
              </a:lnSpc>
              <a:buFont typeface="Wingdings" pitchFamily="2" charset="2"/>
              <a:buChar char="Ø"/>
              <a:defRPr/>
            </a:pPr>
            <a:r>
              <a:rPr lang="en-US" sz="1600" dirty="0"/>
              <a:t>Automated mechanism will be set to trigger printing of supporting documents for final processing of payment for online transfers</a:t>
            </a:r>
            <a:endParaRPr lang="en-US" sz="1600" dirty="0"/>
          </a:p>
          <a:p>
            <a:pPr>
              <a:lnSpc>
                <a:spcPct val="150000"/>
              </a:lnSpc>
              <a:buFont typeface="Wingdings" pitchFamily="2" charset="2"/>
              <a:buChar char="Ø"/>
              <a:defRPr/>
            </a:pPr>
            <a:r>
              <a:rPr lang="en-US" sz="1600" dirty="0"/>
              <a:t>A </a:t>
            </a:r>
            <a:r>
              <a:rPr lang="en-US" sz="1600" dirty="0"/>
              <a:t>log will be created for all modifications to </a:t>
            </a:r>
            <a:r>
              <a:rPr lang="en-US" sz="1600" dirty="0"/>
              <a:t>payment request including </a:t>
            </a:r>
            <a:r>
              <a:rPr lang="en-US" sz="1600" dirty="0"/>
              <a:t>approval and </a:t>
            </a:r>
            <a:r>
              <a:rPr lang="en-US" sz="1600" dirty="0"/>
              <a:t>rejections</a:t>
            </a:r>
            <a:endParaRPr lang="en-US" sz="1500" dirty="0"/>
          </a:p>
        </p:txBody>
      </p:sp>
      <p:sp>
        <p:nvSpPr>
          <p:cNvPr id="71684" name="Title 1"/>
          <p:cNvSpPr>
            <a:spLocks noGrp="1"/>
          </p:cNvSpPr>
          <p:nvPr>
            <p:ph type="title"/>
          </p:nvPr>
        </p:nvSpPr>
        <p:spPr>
          <a:xfrm>
            <a:off x="1908175" y="549275"/>
            <a:ext cx="5111750" cy="363538"/>
          </a:xfrm>
          <a:ln w="28575">
            <a:solidFill>
              <a:srgbClr val="C00000"/>
            </a:solidFill>
          </a:ln>
        </p:spPr>
        <p:txBody>
          <a:bodyPr/>
          <a:lstStyle/>
          <a:p>
            <a:pPr eaLnBrk="1" hangingPunct="1"/>
            <a:r>
              <a:rPr lang="en-US" b="1" smtClean="0"/>
              <a:t>Payment Request and Approval Process</a:t>
            </a: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Title 1"/>
          <p:cNvSpPr>
            <a:spLocks noGrp="1"/>
          </p:cNvSpPr>
          <p:nvPr>
            <p:ph type="title"/>
          </p:nvPr>
        </p:nvSpPr>
        <p:spPr>
          <a:xfrm>
            <a:off x="1908175" y="549275"/>
            <a:ext cx="5111750" cy="363538"/>
          </a:xfrm>
          <a:ln w="28575">
            <a:solidFill>
              <a:srgbClr val="C00000"/>
            </a:solidFill>
          </a:ln>
        </p:spPr>
        <p:txBody>
          <a:bodyPr/>
          <a:lstStyle/>
          <a:p>
            <a:pPr algn="ctr" eaLnBrk="1" hangingPunct="1"/>
            <a:r>
              <a:rPr lang="en-US" b="1" smtClean="0"/>
              <a:t>Dashboard DAF</a:t>
            </a:r>
          </a:p>
        </p:txBody>
      </p:sp>
      <p:sp>
        <p:nvSpPr>
          <p:cNvPr id="72706" name="Line 4"/>
          <p:cNvSpPr>
            <a:spLocks noChangeShapeType="1"/>
          </p:cNvSpPr>
          <p:nvPr/>
        </p:nvSpPr>
        <p:spPr bwMode="auto">
          <a:xfrm flipV="1">
            <a:off x="274638" y="549275"/>
            <a:ext cx="8594725" cy="0"/>
          </a:xfrm>
          <a:prstGeom prst="line">
            <a:avLst/>
          </a:prstGeom>
          <a:noFill/>
          <a:ln w="9525">
            <a:solidFill>
              <a:schemeClr val="tx1"/>
            </a:solidFill>
            <a:round/>
            <a:headEnd/>
            <a:tailEnd/>
          </a:ln>
        </p:spPr>
        <p:txBody>
          <a:bodyPr/>
          <a:lstStyle/>
          <a:p>
            <a:endParaRPr lang="en-US"/>
          </a:p>
        </p:txBody>
      </p:sp>
      <p:sp>
        <p:nvSpPr>
          <p:cNvPr id="72707" name="Rectangle 2"/>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sp>
        <p:nvSpPr>
          <p:cNvPr id="72708" name="Rectangle 4"/>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pic>
        <p:nvPicPr>
          <p:cNvPr id="72709" name="Picture 3"/>
          <p:cNvPicPr>
            <a:picLocks noChangeAspect="1" noChangeArrowheads="1"/>
          </p:cNvPicPr>
          <p:nvPr/>
        </p:nvPicPr>
        <p:blipFill>
          <a:blip r:embed="rId2"/>
          <a:srcRect/>
          <a:stretch>
            <a:fillRect/>
          </a:stretch>
        </p:blipFill>
        <p:spPr bwMode="auto">
          <a:xfrm>
            <a:off x="971550" y="962025"/>
            <a:ext cx="7272338" cy="545306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29" name="Title 1"/>
          <p:cNvSpPr>
            <a:spLocks noGrp="1"/>
          </p:cNvSpPr>
          <p:nvPr>
            <p:ph type="title"/>
          </p:nvPr>
        </p:nvSpPr>
        <p:spPr>
          <a:xfrm>
            <a:off x="1908175" y="549275"/>
            <a:ext cx="5111750" cy="363538"/>
          </a:xfrm>
          <a:ln w="28575">
            <a:solidFill>
              <a:srgbClr val="C00000"/>
            </a:solidFill>
          </a:ln>
        </p:spPr>
        <p:txBody>
          <a:bodyPr/>
          <a:lstStyle/>
          <a:p>
            <a:pPr algn="ctr" eaLnBrk="1" hangingPunct="1"/>
            <a:r>
              <a:rPr lang="en-US" b="1" smtClean="0"/>
              <a:t>Dashboard DAF</a:t>
            </a:r>
          </a:p>
        </p:txBody>
      </p:sp>
      <p:sp>
        <p:nvSpPr>
          <p:cNvPr id="73730" name="Line 4"/>
          <p:cNvSpPr>
            <a:spLocks noChangeShapeType="1"/>
          </p:cNvSpPr>
          <p:nvPr/>
        </p:nvSpPr>
        <p:spPr bwMode="auto">
          <a:xfrm flipV="1">
            <a:off x="274638" y="549275"/>
            <a:ext cx="8594725" cy="0"/>
          </a:xfrm>
          <a:prstGeom prst="line">
            <a:avLst/>
          </a:prstGeom>
          <a:noFill/>
          <a:ln w="9525">
            <a:solidFill>
              <a:schemeClr val="tx1"/>
            </a:solidFill>
            <a:round/>
            <a:headEnd/>
            <a:tailEnd/>
          </a:ln>
        </p:spPr>
        <p:txBody>
          <a:bodyPr/>
          <a:lstStyle/>
          <a:p>
            <a:endParaRPr lang="en-US"/>
          </a:p>
        </p:txBody>
      </p:sp>
      <p:sp>
        <p:nvSpPr>
          <p:cNvPr id="73731" name="Rectangle 2"/>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sp>
        <p:nvSpPr>
          <p:cNvPr id="73732" name="Rectangle 4"/>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pic>
        <p:nvPicPr>
          <p:cNvPr id="73733" name="Object 2"/>
          <p:cNvPicPr>
            <a:picLocks noChangeArrowheads="1"/>
          </p:cNvPicPr>
          <p:nvPr/>
        </p:nvPicPr>
        <p:blipFill>
          <a:blip r:embed="rId2"/>
          <a:srcRect t="-2112" b="-269"/>
          <a:stretch>
            <a:fillRect/>
          </a:stretch>
        </p:blipFill>
        <p:spPr bwMode="auto">
          <a:xfrm>
            <a:off x="755650" y="1052513"/>
            <a:ext cx="7704138" cy="51847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Title 1"/>
          <p:cNvSpPr>
            <a:spLocks noGrp="1"/>
          </p:cNvSpPr>
          <p:nvPr>
            <p:ph type="title"/>
          </p:nvPr>
        </p:nvSpPr>
        <p:spPr>
          <a:xfrm>
            <a:off x="1908175" y="549275"/>
            <a:ext cx="5111750" cy="363538"/>
          </a:xfrm>
          <a:ln w="28575">
            <a:solidFill>
              <a:srgbClr val="C00000"/>
            </a:solidFill>
          </a:ln>
        </p:spPr>
        <p:txBody>
          <a:bodyPr/>
          <a:lstStyle/>
          <a:p>
            <a:pPr algn="ctr" eaLnBrk="1" hangingPunct="1"/>
            <a:r>
              <a:rPr lang="en-US" b="1" smtClean="0"/>
              <a:t>Dashboard Treasurer</a:t>
            </a:r>
          </a:p>
        </p:txBody>
      </p:sp>
      <p:sp>
        <p:nvSpPr>
          <p:cNvPr id="74754" name="Line 4"/>
          <p:cNvSpPr>
            <a:spLocks noChangeShapeType="1"/>
          </p:cNvSpPr>
          <p:nvPr/>
        </p:nvSpPr>
        <p:spPr bwMode="auto">
          <a:xfrm flipV="1">
            <a:off x="274638" y="549275"/>
            <a:ext cx="8594725" cy="0"/>
          </a:xfrm>
          <a:prstGeom prst="line">
            <a:avLst/>
          </a:prstGeom>
          <a:noFill/>
          <a:ln w="9525">
            <a:solidFill>
              <a:schemeClr val="tx1"/>
            </a:solidFill>
            <a:round/>
            <a:headEnd/>
            <a:tailEnd/>
          </a:ln>
        </p:spPr>
        <p:txBody>
          <a:bodyPr/>
          <a:lstStyle/>
          <a:p>
            <a:endParaRPr lang="en-US"/>
          </a:p>
        </p:txBody>
      </p:sp>
      <p:sp>
        <p:nvSpPr>
          <p:cNvPr id="74755" name="Rectangle 2"/>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sp>
        <p:nvSpPr>
          <p:cNvPr id="74756" name="Rectangle 4"/>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pic>
        <p:nvPicPr>
          <p:cNvPr id="74757" name="Object 1"/>
          <p:cNvPicPr>
            <a:picLocks noChangeArrowheads="1"/>
          </p:cNvPicPr>
          <p:nvPr/>
        </p:nvPicPr>
        <p:blipFill>
          <a:blip r:embed="rId2"/>
          <a:srcRect l="-107" b="-150"/>
          <a:stretch>
            <a:fillRect/>
          </a:stretch>
        </p:blipFill>
        <p:spPr bwMode="auto">
          <a:xfrm>
            <a:off x="611188" y="1125538"/>
            <a:ext cx="8064500" cy="525621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7" name="Title 1"/>
          <p:cNvSpPr>
            <a:spLocks noGrp="1"/>
          </p:cNvSpPr>
          <p:nvPr>
            <p:ph type="title"/>
          </p:nvPr>
        </p:nvSpPr>
        <p:spPr>
          <a:xfrm>
            <a:off x="914400" y="549275"/>
            <a:ext cx="6753225" cy="358775"/>
          </a:xfrm>
          <a:ln w="28575">
            <a:solidFill>
              <a:srgbClr val="C00000"/>
            </a:solidFill>
          </a:ln>
        </p:spPr>
        <p:txBody>
          <a:bodyPr/>
          <a:lstStyle/>
          <a:p>
            <a:pPr eaLnBrk="1" hangingPunct="1"/>
            <a:r>
              <a:rPr lang="en-US" b="1" smtClean="0"/>
              <a:t>Dashboard Branch Coordinator for Payment Request</a:t>
            </a:r>
          </a:p>
        </p:txBody>
      </p:sp>
      <p:sp>
        <p:nvSpPr>
          <p:cNvPr id="75778" name="Line 4"/>
          <p:cNvSpPr>
            <a:spLocks noChangeShapeType="1"/>
          </p:cNvSpPr>
          <p:nvPr/>
        </p:nvSpPr>
        <p:spPr bwMode="auto">
          <a:xfrm flipV="1">
            <a:off x="274638" y="549275"/>
            <a:ext cx="8594725" cy="0"/>
          </a:xfrm>
          <a:prstGeom prst="line">
            <a:avLst/>
          </a:prstGeom>
          <a:noFill/>
          <a:ln w="9525">
            <a:solidFill>
              <a:schemeClr val="tx1"/>
            </a:solidFill>
            <a:round/>
            <a:headEnd/>
            <a:tailEnd/>
          </a:ln>
        </p:spPr>
        <p:txBody>
          <a:bodyPr/>
          <a:lstStyle/>
          <a:p>
            <a:endParaRPr lang="en-US"/>
          </a:p>
        </p:txBody>
      </p:sp>
      <p:sp>
        <p:nvSpPr>
          <p:cNvPr id="75779" name="Rectangle 2"/>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sp>
        <p:nvSpPr>
          <p:cNvPr id="75780" name="Rectangle 4"/>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pic>
        <p:nvPicPr>
          <p:cNvPr id="75781" name="Object 1"/>
          <p:cNvPicPr>
            <a:picLocks noChangeArrowheads="1"/>
          </p:cNvPicPr>
          <p:nvPr/>
        </p:nvPicPr>
        <p:blipFill>
          <a:blip r:embed="rId2"/>
          <a:srcRect t="-790" r="-1144" b="-281"/>
          <a:stretch>
            <a:fillRect/>
          </a:stretch>
        </p:blipFill>
        <p:spPr bwMode="auto">
          <a:xfrm>
            <a:off x="611188" y="1052513"/>
            <a:ext cx="7921625" cy="554513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Title 1"/>
          <p:cNvSpPr>
            <a:spLocks noGrp="1"/>
          </p:cNvSpPr>
          <p:nvPr>
            <p:ph type="title"/>
          </p:nvPr>
        </p:nvSpPr>
        <p:spPr>
          <a:xfrm>
            <a:off x="1908175" y="549275"/>
            <a:ext cx="5759450" cy="358775"/>
          </a:xfrm>
          <a:ln w="28575">
            <a:solidFill>
              <a:srgbClr val="C00000"/>
            </a:solidFill>
          </a:ln>
        </p:spPr>
        <p:txBody>
          <a:bodyPr/>
          <a:lstStyle/>
          <a:p>
            <a:pPr eaLnBrk="1" hangingPunct="1"/>
            <a:r>
              <a:rPr lang="en-US" b="1" smtClean="0"/>
              <a:t>Notification for Reporting – Dashboard for DG</a:t>
            </a:r>
          </a:p>
        </p:txBody>
      </p:sp>
      <p:sp>
        <p:nvSpPr>
          <p:cNvPr id="76802" name="Line 4"/>
          <p:cNvSpPr>
            <a:spLocks noChangeShapeType="1"/>
          </p:cNvSpPr>
          <p:nvPr/>
        </p:nvSpPr>
        <p:spPr bwMode="auto">
          <a:xfrm flipV="1">
            <a:off x="274638" y="549275"/>
            <a:ext cx="8594725" cy="0"/>
          </a:xfrm>
          <a:prstGeom prst="line">
            <a:avLst/>
          </a:prstGeom>
          <a:noFill/>
          <a:ln w="9525">
            <a:solidFill>
              <a:schemeClr val="tx1"/>
            </a:solidFill>
            <a:round/>
            <a:headEnd/>
            <a:tailEnd/>
          </a:ln>
        </p:spPr>
        <p:txBody>
          <a:bodyPr/>
          <a:lstStyle/>
          <a:p>
            <a:endParaRPr lang="en-US"/>
          </a:p>
        </p:txBody>
      </p:sp>
      <p:sp>
        <p:nvSpPr>
          <p:cNvPr id="76803" name="Rectangle 2"/>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sp>
        <p:nvSpPr>
          <p:cNvPr id="76804" name="Rectangle 4"/>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a:p>
        </p:txBody>
      </p:sp>
      <p:pic>
        <p:nvPicPr>
          <p:cNvPr id="76805" name="Object 2"/>
          <p:cNvPicPr>
            <a:picLocks noChangeArrowheads="1"/>
          </p:cNvPicPr>
          <p:nvPr/>
        </p:nvPicPr>
        <p:blipFill>
          <a:blip r:embed="rId2"/>
          <a:srcRect t="-702" r="-1144" b="-204"/>
          <a:stretch>
            <a:fillRect/>
          </a:stretch>
        </p:blipFill>
        <p:spPr bwMode="auto">
          <a:xfrm>
            <a:off x="1365250" y="2708275"/>
            <a:ext cx="5870575" cy="3960813"/>
          </a:xfrm>
          <a:prstGeom prst="rect">
            <a:avLst/>
          </a:prstGeom>
          <a:noFill/>
          <a:ln w="9525">
            <a:noFill/>
            <a:miter lim="800000"/>
            <a:headEnd/>
            <a:tailEnd/>
          </a:ln>
        </p:spPr>
      </p:pic>
      <p:sp>
        <p:nvSpPr>
          <p:cNvPr id="10" name="TextBox 9"/>
          <p:cNvSpPr txBox="1"/>
          <p:nvPr/>
        </p:nvSpPr>
        <p:spPr>
          <a:xfrm>
            <a:off x="971550" y="981075"/>
            <a:ext cx="7272338" cy="1476375"/>
          </a:xfrm>
          <a:prstGeom prst="rect">
            <a:avLst/>
          </a:prstGeom>
        </p:spPr>
        <p:style>
          <a:lnRef idx="2">
            <a:schemeClr val="accent2"/>
          </a:lnRef>
          <a:fillRef idx="1">
            <a:schemeClr val="lt1"/>
          </a:fillRef>
          <a:effectRef idx="0">
            <a:schemeClr val="accent2"/>
          </a:effectRef>
          <a:fontRef idx="minor">
            <a:schemeClr val="dk1"/>
          </a:fontRef>
        </p:style>
        <p:txBody>
          <a:bodyPr>
            <a:spAutoFit/>
          </a:bodyPr>
          <a:lstStyle/>
          <a:p>
            <a:pPr>
              <a:lnSpc>
                <a:spcPct val="150000"/>
              </a:lnSpc>
              <a:buFont typeface="Wingdings" pitchFamily="2" charset="2"/>
              <a:buChar char="Ø"/>
              <a:defRPr/>
            </a:pPr>
            <a:r>
              <a:rPr lang="en-US" sz="1500" dirty="0"/>
              <a:t>Notification framework will be developed  to notify ALCS team members to provide details for reporting</a:t>
            </a:r>
          </a:p>
          <a:p>
            <a:pPr>
              <a:lnSpc>
                <a:spcPct val="150000"/>
              </a:lnSpc>
              <a:buFont typeface="Wingdings" pitchFamily="2" charset="2"/>
              <a:buChar char="Ø"/>
              <a:defRPr/>
            </a:pPr>
            <a:r>
              <a:rPr lang="en-US" sz="1500" dirty="0"/>
              <a:t>Notification details will be defined and created along with the project</a:t>
            </a:r>
          </a:p>
          <a:p>
            <a:pPr>
              <a:lnSpc>
                <a:spcPct val="150000"/>
              </a:lnSpc>
              <a:buFont typeface="Wingdings" pitchFamily="2" charset="2"/>
              <a:buChar char="Ø"/>
              <a:defRPr/>
            </a:pPr>
            <a:r>
              <a:rPr lang="en-US" sz="1500" dirty="0"/>
              <a:t>Only specific users will have access to maintain notifications</a:t>
            </a:r>
            <a:endParaRPr lang="en-US" sz="1500" dirty="0"/>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3" name="Title 1"/>
          <p:cNvSpPr>
            <a:spLocks noGrp="1"/>
          </p:cNvSpPr>
          <p:nvPr>
            <p:ph type="title"/>
          </p:nvPr>
        </p:nvSpPr>
        <p:spPr>
          <a:xfrm>
            <a:off x="336550" y="627063"/>
            <a:ext cx="7493000" cy="344487"/>
          </a:xfrm>
        </p:spPr>
        <p:txBody>
          <a:bodyPr/>
          <a:lstStyle/>
          <a:p>
            <a:pPr algn="ctr"/>
            <a:r>
              <a:rPr lang="en-US" sz="1800" b="1" smtClean="0"/>
              <a:t>Financial Management Recommendations</a:t>
            </a:r>
          </a:p>
        </p:txBody>
      </p:sp>
      <p:sp>
        <p:nvSpPr>
          <p:cNvPr id="3" name="Content Placeholder 2"/>
          <p:cNvSpPr>
            <a:spLocks noGrp="1"/>
          </p:cNvSpPr>
          <p:nvPr>
            <p:ph idx="1"/>
          </p:nvPr>
        </p:nvSpPr>
        <p:spPr>
          <a:xfrm>
            <a:off x="336550" y="971550"/>
            <a:ext cx="8229600" cy="5564188"/>
          </a:xfrm>
        </p:spPr>
        <p:txBody>
          <a:bodyPr/>
          <a:lstStyle/>
          <a:p>
            <a:r>
              <a:rPr lang="en-US" smtClean="0"/>
              <a:t>Recommendations</a:t>
            </a:r>
          </a:p>
          <a:p>
            <a:pPr marL="800100" lvl="1" indent="-342900"/>
            <a:r>
              <a:rPr lang="en-US" smtClean="0"/>
              <a:t>Short Term</a:t>
            </a:r>
          </a:p>
          <a:p>
            <a:pPr marL="1200150" lvl="2" indent="-342900"/>
            <a:r>
              <a:rPr lang="en-US" sz="1100" smtClean="0"/>
              <a:t>Built this independent offline application with capability to synch with main server when online</a:t>
            </a:r>
          </a:p>
          <a:p>
            <a:pPr marL="800100" lvl="1" indent="-342900"/>
            <a:r>
              <a:rPr lang="en-US" smtClean="0"/>
              <a:t>Long Term</a:t>
            </a:r>
          </a:p>
          <a:p>
            <a:pPr marL="1200150" lvl="2" indent="-342900"/>
            <a:r>
              <a:rPr lang="en-US" sz="1100" smtClean="0"/>
              <a:t>Implement the proposed solution in SAGE to have integrated solution</a:t>
            </a:r>
          </a:p>
          <a:p>
            <a:pPr marL="1200150" lvl="2" indent="-342900"/>
            <a:r>
              <a:rPr lang="en-US" sz="1100" smtClean="0"/>
              <a:t>Implement intranet infrastructure for better communication and accessibility to projects</a:t>
            </a:r>
          </a:p>
          <a:p>
            <a:r>
              <a:rPr lang="en-US" smtClean="0"/>
              <a:t>Benefits (to staff, ALCS overall, patients/participants, other stakeholders)</a:t>
            </a:r>
          </a:p>
          <a:p>
            <a:pPr marL="800100" lvl="1" indent="-342900"/>
            <a:r>
              <a:rPr lang="en-US" sz="1100" smtClean="0"/>
              <a:t>Faster and efficient definition and approval process</a:t>
            </a:r>
          </a:p>
          <a:p>
            <a:pPr marL="800100" lvl="1" indent="-342900"/>
            <a:r>
              <a:rPr lang="en-US" sz="1100" smtClean="0"/>
              <a:t>Normalized and error prone data entry</a:t>
            </a:r>
          </a:p>
          <a:p>
            <a:pPr marL="800100" lvl="1" indent="-342900"/>
            <a:r>
              <a:rPr lang="en-US" sz="1100" smtClean="0"/>
              <a:t>Better return on investment</a:t>
            </a:r>
          </a:p>
          <a:p>
            <a:pPr marL="800100" lvl="1" indent="-342900"/>
            <a:r>
              <a:rPr lang="en-US" sz="1100" smtClean="0"/>
              <a:t>Better metrics generation and proactive audit report</a:t>
            </a:r>
          </a:p>
          <a:p>
            <a:r>
              <a:rPr lang="en-US" smtClean="0"/>
              <a:t>Project Assumptions</a:t>
            </a:r>
          </a:p>
          <a:p>
            <a:pPr marL="800100" lvl="1" indent="-342900"/>
            <a:r>
              <a:rPr lang="en-US" sz="1100" smtClean="0"/>
              <a:t>ALCS will have infrastructure and budget to implement the proposed solution</a:t>
            </a:r>
          </a:p>
          <a:p>
            <a:pPr marL="800100" lvl="1" indent="-342900"/>
            <a:r>
              <a:rPr lang="en-US" sz="1100" smtClean="0"/>
              <a:t>ALCS will have resources and budget for ongoing maintenance</a:t>
            </a:r>
          </a:p>
          <a:p>
            <a:r>
              <a:rPr lang="en-US" smtClean="0"/>
              <a:t>Project Dependencies</a:t>
            </a:r>
          </a:p>
          <a:p>
            <a:pPr marL="800100" lvl="1" indent="-342900"/>
            <a:r>
              <a:rPr lang="en-US" sz="1100" smtClean="0"/>
              <a:t>Infrastructure</a:t>
            </a:r>
          </a:p>
          <a:p>
            <a:pPr marL="800100" lvl="1" indent="-342900"/>
            <a:r>
              <a:rPr lang="en-US" sz="1100" smtClean="0"/>
              <a:t>Budget</a:t>
            </a:r>
          </a:p>
          <a:p>
            <a:pPr marL="800100" lvl="1" indent="-342900"/>
            <a:r>
              <a:rPr lang="en-US" sz="1100" smtClean="0"/>
              <a:t>Resources</a:t>
            </a:r>
          </a:p>
          <a:p>
            <a:r>
              <a:rPr lang="en-US" smtClean="0"/>
              <a:t>Challenges/Risks</a:t>
            </a:r>
          </a:p>
          <a:p>
            <a:pPr marL="800100" lvl="1" indent="-342900"/>
            <a:r>
              <a:rPr lang="en-US" sz="1000" smtClean="0"/>
              <a:t>Budget</a:t>
            </a:r>
          </a:p>
          <a:p>
            <a:pPr marL="800100" lvl="1" indent="-342900"/>
            <a:r>
              <a:rPr lang="en-US" sz="1000" smtClean="0"/>
              <a:t>Interfacing capability for future enhancement</a:t>
            </a: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7"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6F8264F6-8DF9-4242-B0E6-AB1C7635BD57}" type="slidenum">
              <a:rPr lang="en-US" sz="800"/>
              <a:pPr/>
              <a:t>29</a:t>
            </a:fld>
            <a:endParaRPr lang="en-US" sz="800"/>
          </a:p>
        </p:txBody>
      </p:sp>
      <p:sp>
        <p:nvSpPr>
          <p:cNvPr id="80898" name="AutoShape 2"/>
          <p:cNvSpPr>
            <a:spLocks noChangeArrowheads="1"/>
          </p:cNvSpPr>
          <p:nvPr/>
        </p:nvSpPr>
        <p:spPr bwMode="auto">
          <a:xfrm>
            <a:off x="860425" y="1508125"/>
            <a:ext cx="7456488" cy="3000375"/>
          </a:xfrm>
          <a:prstGeom prst="roundRect">
            <a:avLst>
              <a:gd name="adj" fmla="val 5690"/>
            </a:avLst>
          </a:prstGeom>
          <a:noFill/>
          <a:ln w="9525">
            <a:solidFill>
              <a:schemeClr val="tx1"/>
            </a:solidFill>
            <a:round/>
            <a:headEnd/>
            <a:tailEnd/>
          </a:ln>
        </p:spPr>
        <p:txBody>
          <a:bodyPr wrap="none" lIns="91436" tIns="45716" rIns="91436" bIns="45716"/>
          <a:lstStyle/>
          <a:p>
            <a:pPr algn="ctr">
              <a:spcBef>
                <a:spcPct val="20000"/>
              </a:spcBef>
              <a:buClr>
                <a:schemeClr val="tx1"/>
              </a:buClr>
              <a:buFont typeface="Wingdings" pitchFamily="2" charset="2"/>
              <a:buNone/>
            </a:pPr>
            <a:endParaRPr lang="de-DE" sz="2000"/>
          </a:p>
        </p:txBody>
      </p:sp>
      <p:sp>
        <p:nvSpPr>
          <p:cNvPr id="80899" name="Oval 3"/>
          <p:cNvSpPr>
            <a:spLocks noChangeArrowheads="1"/>
          </p:cNvSpPr>
          <p:nvPr/>
        </p:nvSpPr>
        <p:spPr bwMode="gray">
          <a:xfrm>
            <a:off x="684213" y="1339850"/>
            <a:ext cx="534987" cy="528638"/>
          </a:xfrm>
          <a:prstGeom prst="ellipse">
            <a:avLst/>
          </a:prstGeom>
          <a:solidFill>
            <a:srgbClr val="FF9933"/>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2800" b="1">
                <a:solidFill>
                  <a:schemeClr val="bg1"/>
                </a:solidFill>
              </a:rPr>
              <a:t>3</a:t>
            </a:r>
          </a:p>
        </p:txBody>
      </p:sp>
      <p:sp>
        <p:nvSpPr>
          <p:cNvPr id="80900" name="Text Box 4"/>
          <p:cNvSpPr txBox="1">
            <a:spLocks noChangeArrowheads="1"/>
          </p:cNvSpPr>
          <p:nvPr/>
        </p:nvSpPr>
        <p:spPr bwMode="auto">
          <a:xfrm>
            <a:off x="1868488" y="2703513"/>
            <a:ext cx="4751387" cy="815975"/>
          </a:xfrm>
          <a:prstGeom prst="rect">
            <a:avLst/>
          </a:prstGeom>
          <a:noFill/>
          <a:ln w="9525">
            <a:noFill/>
            <a:miter lim="800000"/>
            <a:headEnd/>
            <a:tailEnd/>
          </a:ln>
        </p:spPr>
        <p:txBody>
          <a:bodyPr lIns="91436" tIns="45716" rIns="91436" bIns="45716">
            <a:spAutoFit/>
          </a:bodyPr>
          <a:lstStyle/>
          <a:p>
            <a:pPr marL="180975" indent="-180975">
              <a:spcBef>
                <a:spcPct val="20000"/>
              </a:spcBef>
              <a:buClr>
                <a:srgbClr val="9999FF"/>
              </a:buClr>
              <a:buFont typeface="Wingdings" pitchFamily="2" charset="2"/>
              <a:buChar char="§"/>
            </a:pPr>
            <a:r>
              <a:rPr lang="en-US" sz="1400"/>
              <a:t>Current State</a:t>
            </a:r>
          </a:p>
          <a:p>
            <a:pPr marL="180975" indent="-180975">
              <a:spcBef>
                <a:spcPct val="20000"/>
              </a:spcBef>
              <a:buClr>
                <a:srgbClr val="9999FF"/>
              </a:buClr>
              <a:buFont typeface="Wingdings" pitchFamily="2" charset="2"/>
              <a:buChar char="§"/>
            </a:pPr>
            <a:r>
              <a:rPr lang="en-US" sz="1400"/>
              <a:t>Proposed Solutions</a:t>
            </a:r>
          </a:p>
          <a:p>
            <a:pPr marL="180975" indent="-180975">
              <a:spcBef>
                <a:spcPct val="20000"/>
              </a:spcBef>
              <a:buClr>
                <a:srgbClr val="9999FF"/>
              </a:buClr>
              <a:buFont typeface="Wingdings" pitchFamily="2" charset="2"/>
              <a:buChar char="§"/>
            </a:pPr>
            <a:r>
              <a:rPr lang="en-US" sz="1400"/>
              <a:t>Other considerations</a:t>
            </a:r>
          </a:p>
        </p:txBody>
      </p:sp>
      <p:sp>
        <p:nvSpPr>
          <p:cNvPr id="80901" name="Text Box 5"/>
          <p:cNvSpPr txBox="1">
            <a:spLocks noChangeArrowheads="1"/>
          </p:cNvSpPr>
          <p:nvPr/>
        </p:nvSpPr>
        <p:spPr bwMode="auto">
          <a:xfrm>
            <a:off x="1189038" y="2132013"/>
            <a:ext cx="6119812" cy="304800"/>
          </a:xfrm>
          <a:prstGeom prst="rect">
            <a:avLst/>
          </a:prstGeom>
          <a:noFill/>
          <a:ln w="9525">
            <a:noFill/>
            <a:miter lim="800000"/>
            <a:headEnd/>
            <a:tailEnd/>
          </a:ln>
        </p:spPr>
        <p:txBody>
          <a:bodyPr lIns="91436" tIns="45716" rIns="91436" bIns="45716">
            <a:spAutoFit/>
          </a:bodyPr>
          <a:lstStyle/>
          <a:p>
            <a:r>
              <a:rPr lang="en-US" sz="1400" i="1"/>
              <a:t>Overview of the approach and proposed recommendations</a:t>
            </a:r>
          </a:p>
        </p:txBody>
      </p:sp>
      <p:sp>
        <p:nvSpPr>
          <p:cNvPr id="80902" name="Rectangle 6"/>
          <p:cNvSpPr>
            <a:spLocks noChangeArrowheads="1"/>
          </p:cNvSpPr>
          <p:nvPr/>
        </p:nvSpPr>
        <p:spPr bwMode="auto">
          <a:xfrm>
            <a:off x="1220788" y="1670050"/>
            <a:ext cx="4802187" cy="396875"/>
          </a:xfrm>
          <a:prstGeom prst="rect">
            <a:avLst/>
          </a:prstGeom>
          <a:noFill/>
          <a:ln w="9525">
            <a:noFill/>
            <a:miter lim="800000"/>
            <a:headEnd/>
            <a:tailEnd/>
          </a:ln>
        </p:spPr>
        <p:txBody>
          <a:bodyPr wrap="none" lIns="91436" tIns="45716" rIns="91436" bIns="45716">
            <a:spAutoFit/>
          </a:bodyPr>
          <a:lstStyle/>
          <a:p>
            <a:pPr>
              <a:spcBef>
                <a:spcPct val="20000"/>
              </a:spcBef>
              <a:buClr>
                <a:schemeClr val="tx1"/>
              </a:buClr>
              <a:buFont typeface="Wingdings" pitchFamily="2" charset="2"/>
              <a:buNone/>
            </a:pPr>
            <a:r>
              <a:rPr lang="de-DE" sz="2000"/>
              <a:t>Operational Data Collection and Analysis</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Rectangle 2"/>
          <p:cNvSpPr>
            <a:spLocks noGrp="1" noChangeArrowheads="1"/>
          </p:cNvSpPr>
          <p:nvPr>
            <p:ph type="title" idx="4294967295"/>
          </p:nvPr>
        </p:nvSpPr>
        <p:spPr>
          <a:xfrm>
            <a:off x="274638" y="487363"/>
            <a:ext cx="8686800" cy="701675"/>
          </a:xfrm>
        </p:spPr>
        <p:txBody>
          <a:bodyPr/>
          <a:lstStyle/>
          <a:p>
            <a:r>
              <a:rPr lang="en-US" smtClean="0"/>
              <a:t>Our Understanding of ALCS Priorities </a:t>
            </a:r>
          </a:p>
        </p:txBody>
      </p:sp>
      <p:sp>
        <p:nvSpPr>
          <p:cNvPr id="41986" name="Rectangle 3"/>
          <p:cNvSpPr>
            <a:spLocks noGrp="1" noChangeArrowheads="1"/>
          </p:cNvSpPr>
          <p:nvPr>
            <p:ph type="body" idx="4294967295"/>
          </p:nvPr>
        </p:nvSpPr>
        <p:spPr/>
        <p:txBody>
          <a:bodyPr/>
          <a:lstStyle/>
          <a:p>
            <a:pPr eaLnBrk="1" hangingPunct="1">
              <a:spcBef>
                <a:spcPct val="0"/>
              </a:spcBef>
              <a:buClrTx/>
              <a:buFontTx/>
              <a:buNone/>
            </a:pPr>
            <a:r>
              <a:rPr lang="en-US" sz="1800" smtClean="0">
                <a:solidFill>
                  <a:srgbClr val="000000"/>
                </a:solidFill>
              </a:rPr>
              <a:t>ALCS has clearly defined priorities for the next several years:</a:t>
            </a:r>
          </a:p>
          <a:p>
            <a:pPr eaLnBrk="1" hangingPunct="1">
              <a:spcBef>
                <a:spcPct val="0"/>
              </a:spcBef>
              <a:buClrTx/>
              <a:buFontTx/>
              <a:buNone/>
            </a:pPr>
            <a:endParaRPr lang="en-US" sz="1800" smtClean="0">
              <a:solidFill>
                <a:srgbClr val="000000"/>
              </a:solidFill>
            </a:endParaRPr>
          </a:p>
          <a:p>
            <a:r>
              <a:rPr lang="en-US" sz="1600" smtClean="0"/>
              <a:t>Better knowledge of at risk populations via demographics tracking</a:t>
            </a:r>
          </a:p>
          <a:p>
            <a:r>
              <a:rPr lang="en-US" sz="1600" smtClean="0"/>
              <a:t>Prevention, including access to treatment during early stages </a:t>
            </a:r>
          </a:p>
          <a:p>
            <a:r>
              <a:rPr lang="en-US" sz="1600" smtClean="0"/>
              <a:t>Consistent application of national program objectives at regional levels</a:t>
            </a:r>
          </a:p>
          <a:p>
            <a:r>
              <a:rPr lang="en-US" sz="1600" smtClean="0"/>
              <a:t>Optimization of financial and personnel resources</a:t>
            </a:r>
          </a:p>
          <a:p>
            <a:r>
              <a:rPr lang="en-US" sz="1600" smtClean="0"/>
              <a:t>Financial transparency and quality recognized by trusted business partners </a:t>
            </a:r>
          </a:p>
          <a:p>
            <a:r>
              <a:rPr lang="en-US" sz="1600" smtClean="0"/>
              <a:t>A dynamic volunteer program</a:t>
            </a:r>
          </a:p>
          <a:p>
            <a:r>
              <a:rPr lang="en-US" sz="1600" smtClean="0"/>
              <a:t>Coordination and collaboration with like minded institutions</a:t>
            </a:r>
          </a:p>
          <a:p>
            <a:r>
              <a:rPr lang="en-US" sz="1600" smtClean="0"/>
              <a:t>Capabilities for driving international, national and regional mission and values</a:t>
            </a:r>
          </a:p>
          <a:p>
            <a:endParaRPr lang="en-US" sz="1600" smtClean="0"/>
          </a:p>
          <a:p>
            <a:pPr algn="ctr">
              <a:buFont typeface="Wingdings" pitchFamily="2" charset="2"/>
              <a:buNone/>
            </a:pPr>
            <a:r>
              <a:rPr lang="en-US" sz="1800" b="1" i="1" smtClean="0"/>
              <a:t>The IBM CSC team is committed to enabling these activities by providing</a:t>
            </a:r>
            <a:r>
              <a:rPr lang="en-US" sz="1800" b="1" i="1" smtClean="0">
                <a:solidFill>
                  <a:srgbClr val="7889FB"/>
                </a:solidFill>
              </a:rPr>
              <a:t> </a:t>
            </a:r>
            <a:r>
              <a:rPr lang="en-US" sz="1800" b="1" i="1" smtClean="0">
                <a:solidFill>
                  <a:srgbClr val="0070C0"/>
                </a:solidFill>
              </a:rPr>
              <a:t>strategic advisory support </a:t>
            </a:r>
            <a:r>
              <a:rPr lang="en-US" sz="1800" b="1" i="1" smtClean="0"/>
              <a:t>and recommendations for</a:t>
            </a:r>
            <a:r>
              <a:rPr lang="en-US" sz="1800" b="1" i="1" smtClean="0">
                <a:solidFill>
                  <a:srgbClr val="7889FB"/>
                </a:solidFill>
              </a:rPr>
              <a:t> </a:t>
            </a:r>
            <a:r>
              <a:rPr lang="en-US" sz="1800" b="1" i="1" smtClean="0">
                <a:solidFill>
                  <a:srgbClr val="0070C0"/>
                </a:solidFill>
              </a:rPr>
              <a:t>improving operational business practices and IT capabilities</a:t>
            </a:r>
          </a:p>
          <a:p>
            <a:pPr eaLnBrk="1" hangingPunct="1">
              <a:spcBef>
                <a:spcPct val="0"/>
              </a:spcBef>
              <a:buClrTx/>
              <a:buFontTx/>
              <a:buNone/>
            </a:pPr>
            <a:endParaRPr lang="en-US" sz="1800" i="1" smtClean="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Title 1"/>
          <p:cNvSpPr>
            <a:spLocks noGrp="1"/>
          </p:cNvSpPr>
          <p:nvPr>
            <p:ph type="title" idx="4294967295"/>
          </p:nvPr>
        </p:nvSpPr>
        <p:spPr/>
        <p:txBody>
          <a:bodyPr/>
          <a:lstStyle/>
          <a:p>
            <a:r>
              <a:rPr lang="de-CH" smtClean="0"/>
              <a:t>Today - Future</a:t>
            </a:r>
            <a:endParaRPr lang="en-US" smtClean="0"/>
          </a:p>
        </p:txBody>
      </p:sp>
      <p:sp>
        <p:nvSpPr>
          <p:cNvPr id="4" name="Slide Number Placeholder 3"/>
          <p:cNvSpPr txBox="1">
            <a:spLocks noGrp="1"/>
          </p:cNvSpPr>
          <p:nvPr/>
        </p:nvSpPr>
        <p:spPr bwMode="black">
          <a:xfrm>
            <a:off x="182563" y="6537325"/>
            <a:ext cx="366712" cy="184150"/>
          </a:xfrm>
          <a:prstGeom prst="rect">
            <a:avLst/>
          </a:prstGeom>
          <a:noFill/>
          <a:ln>
            <a:miter lim="800000"/>
            <a:headEnd/>
            <a:tailEnd/>
          </a:ln>
        </p:spPr>
        <p:txBody>
          <a:bodyPr lIns="92075" tIns="46038" rIns="92075" bIns="46038"/>
          <a:lstStyle/>
          <a:p>
            <a:pPr fontAlgn="auto">
              <a:spcBef>
                <a:spcPts val="0"/>
              </a:spcBef>
              <a:spcAft>
                <a:spcPts val="0"/>
              </a:spcAft>
              <a:defRPr/>
            </a:pPr>
            <a:fld id="{E90BFE1E-327D-46BA-8CC1-CAEB34966E77}" type="slidenum">
              <a:rPr lang="en-US" sz="800">
                <a:latin typeface="+mn-lt"/>
                <a:cs typeface="+mn-cs"/>
              </a:rPr>
              <a:pPr fontAlgn="auto">
                <a:spcBef>
                  <a:spcPts val="0"/>
                </a:spcBef>
                <a:spcAft>
                  <a:spcPts val="0"/>
                </a:spcAft>
                <a:defRPr/>
              </a:pPr>
              <a:t>30</a:t>
            </a:fld>
            <a:endParaRPr lang="en-US" sz="800">
              <a:latin typeface="+mn-lt"/>
              <a:cs typeface="+mn-cs"/>
            </a:endParaRPr>
          </a:p>
        </p:txBody>
      </p:sp>
      <p:pic>
        <p:nvPicPr>
          <p:cNvPr id="109572" name="Picture 4"/>
          <p:cNvPicPr>
            <a:picLocks noChangeAspect="1"/>
          </p:cNvPicPr>
          <p:nvPr/>
        </p:nvPicPr>
        <p:blipFill>
          <a:blip r:embed="rId2"/>
          <a:srcRect/>
          <a:stretch>
            <a:fillRect/>
          </a:stretch>
        </p:blipFill>
        <p:spPr bwMode="auto">
          <a:xfrm>
            <a:off x="152400" y="1106488"/>
            <a:ext cx="2981325" cy="1508125"/>
          </a:xfrm>
          <a:prstGeom prst="rect">
            <a:avLst/>
          </a:prstGeom>
          <a:noFill/>
          <a:ln w="9525">
            <a:noFill/>
            <a:miter lim="800000"/>
            <a:headEnd/>
            <a:tailEnd/>
          </a:ln>
        </p:spPr>
      </p:pic>
      <p:pic>
        <p:nvPicPr>
          <p:cNvPr id="109573" name="Picture 5"/>
          <p:cNvPicPr>
            <a:picLocks noChangeAspect="1"/>
          </p:cNvPicPr>
          <p:nvPr/>
        </p:nvPicPr>
        <p:blipFill>
          <a:blip r:embed="rId3"/>
          <a:srcRect/>
          <a:stretch>
            <a:fillRect/>
          </a:stretch>
        </p:blipFill>
        <p:spPr bwMode="auto">
          <a:xfrm rot="900000">
            <a:off x="1433513" y="1401763"/>
            <a:ext cx="3644900" cy="841375"/>
          </a:xfrm>
          <a:prstGeom prst="rect">
            <a:avLst/>
          </a:prstGeom>
          <a:noFill/>
          <a:ln w="9525">
            <a:noFill/>
            <a:miter lim="800000"/>
            <a:headEnd/>
            <a:tailEnd/>
          </a:ln>
        </p:spPr>
      </p:pic>
      <p:pic>
        <p:nvPicPr>
          <p:cNvPr id="109574" name="Picture 6"/>
          <p:cNvPicPr>
            <a:picLocks noChangeAspect="1"/>
          </p:cNvPicPr>
          <p:nvPr/>
        </p:nvPicPr>
        <p:blipFill>
          <a:blip r:embed="rId4"/>
          <a:srcRect/>
          <a:stretch>
            <a:fillRect/>
          </a:stretch>
        </p:blipFill>
        <p:spPr bwMode="auto">
          <a:xfrm>
            <a:off x="152400" y="4159250"/>
            <a:ext cx="3409950" cy="1281113"/>
          </a:xfrm>
          <a:prstGeom prst="rect">
            <a:avLst/>
          </a:prstGeom>
          <a:noFill/>
          <a:ln w="9525">
            <a:noFill/>
            <a:miter lim="800000"/>
            <a:headEnd/>
            <a:tailEnd/>
          </a:ln>
        </p:spPr>
      </p:pic>
      <p:pic>
        <p:nvPicPr>
          <p:cNvPr id="109575" name="Picture 7"/>
          <p:cNvPicPr>
            <a:picLocks noChangeAspect="1"/>
          </p:cNvPicPr>
          <p:nvPr/>
        </p:nvPicPr>
        <p:blipFill>
          <a:blip r:embed="rId5"/>
          <a:srcRect/>
          <a:stretch>
            <a:fillRect/>
          </a:stretch>
        </p:blipFill>
        <p:spPr bwMode="auto">
          <a:xfrm rot="-900000">
            <a:off x="263525" y="2805113"/>
            <a:ext cx="3306763" cy="1055687"/>
          </a:xfrm>
          <a:prstGeom prst="rect">
            <a:avLst/>
          </a:prstGeom>
          <a:noFill/>
          <a:ln w="9525">
            <a:noFill/>
            <a:miter lim="800000"/>
            <a:headEnd/>
            <a:tailEnd/>
          </a:ln>
        </p:spPr>
      </p:pic>
      <p:pic>
        <p:nvPicPr>
          <p:cNvPr id="109576" name="Picture 1"/>
          <p:cNvPicPr>
            <a:picLocks noChangeAspect="1" noChangeArrowheads="1"/>
          </p:cNvPicPr>
          <p:nvPr/>
        </p:nvPicPr>
        <p:blipFill>
          <a:blip r:embed="rId6"/>
          <a:srcRect/>
          <a:stretch>
            <a:fillRect/>
          </a:stretch>
        </p:blipFill>
        <p:spPr bwMode="auto">
          <a:xfrm>
            <a:off x="4664075" y="1970088"/>
            <a:ext cx="4445000" cy="3384550"/>
          </a:xfrm>
          <a:prstGeom prst="rect">
            <a:avLst/>
          </a:prstGeom>
          <a:noFill/>
          <a:ln w="9525">
            <a:noFill/>
            <a:miter lim="800000"/>
            <a:headEnd/>
            <a:tailEnd/>
          </a:ln>
        </p:spPr>
      </p:pic>
      <p:sp>
        <p:nvSpPr>
          <p:cNvPr id="109577" name="Right Arrow 8"/>
          <p:cNvSpPr>
            <a:spLocks noChangeArrowheads="1"/>
          </p:cNvSpPr>
          <p:nvPr/>
        </p:nvSpPr>
        <p:spPr bwMode="gray">
          <a:xfrm>
            <a:off x="4051300" y="2730500"/>
            <a:ext cx="2025650" cy="920750"/>
          </a:xfrm>
          <a:prstGeom prst="rightArrow">
            <a:avLst>
              <a:gd name="adj1" fmla="val 50000"/>
              <a:gd name="adj2" fmla="val 50019"/>
            </a:avLst>
          </a:prstGeom>
          <a:solidFill>
            <a:srgbClr val="7889FB"/>
          </a:solidFill>
          <a:ln w="9525">
            <a:noFill/>
            <a:miter lim="800000"/>
            <a:headEnd/>
            <a:tailEnd/>
          </a:ln>
        </p:spPr>
        <p:txBody>
          <a:bodyPr lIns="0" tIns="0" rIns="0" bIns="0" anchor="ctr"/>
          <a:lstStyle/>
          <a:p>
            <a:pPr marL="225425" indent="-225425" algn="ctr">
              <a:buClr>
                <a:srgbClr val="7889FB"/>
              </a:buClr>
              <a:buFont typeface="Wingdings" pitchFamily="2" charset="2"/>
              <a:buChar char="§"/>
            </a:pPr>
            <a:endParaRPr lang="en-US" sz="1300"/>
          </a:p>
        </p:txBody>
      </p:sp>
      <p:sp>
        <p:nvSpPr>
          <p:cNvPr id="10" name="Rectangle 3"/>
          <p:cNvSpPr txBox="1">
            <a:spLocks noChangeArrowheads="1"/>
          </p:cNvSpPr>
          <p:nvPr/>
        </p:nvSpPr>
        <p:spPr bwMode="auto">
          <a:xfrm>
            <a:off x="400050" y="5529263"/>
            <a:ext cx="4349750" cy="1100137"/>
          </a:xfrm>
          <a:prstGeom prst="rect">
            <a:avLst/>
          </a:prstGeom>
          <a:noFill/>
          <a:ln w="9525">
            <a:noFill/>
            <a:miter lim="800000"/>
            <a:headEnd/>
            <a:tailEnd/>
          </a:ln>
        </p:spPr>
        <p:txBody>
          <a:bodyPr/>
          <a:lstStyle>
            <a:lvl1pPr marL="173038" indent="-173038" algn="l" rtl="0" eaLnBrk="0" fontAlgn="base" hangingPunct="0">
              <a:spcBef>
                <a:spcPct val="20000"/>
              </a:spcBef>
              <a:spcAft>
                <a:spcPct val="0"/>
              </a:spcAft>
              <a:buClr>
                <a:schemeClr val="hlink"/>
              </a:buClr>
              <a:buFont typeface="Wingdings" pitchFamily="2" charset="2"/>
              <a:buChar char="§"/>
              <a:defRPr sz="1400">
                <a:solidFill>
                  <a:schemeClr val="tx1"/>
                </a:solidFill>
                <a:latin typeface="+mn-lt"/>
                <a:ea typeface="+mn-ea"/>
                <a:cs typeface="+mn-cs"/>
              </a:defRPr>
            </a:lvl1pPr>
            <a:lvl2pPr marL="509588" indent="-163513" algn="l" rtl="0" eaLnBrk="0" fontAlgn="base" hangingPunct="0">
              <a:spcBef>
                <a:spcPct val="20000"/>
              </a:spcBef>
              <a:spcAft>
                <a:spcPct val="0"/>
              </a:spcAft>
              <a:buClr>
                <a:schemeClr val="hlink"/>
              </a:buClr>
              <a:buFont typeface="Arial" charset="0"/>
              <a:buChar char="–"/>
              <a:defRPr sz="1400">
                <a:solidFill>
                  <a:schemeClr val="tx1"/>
                </a:solidFill>
                <a:latin typeface="+mn-lt"/>
              </a:defRPr>
            </a:lvl2pPr>
            <a:lvl3pPr marL="855663" indent="-173038" algn="l" rtl="0" eaLnBrk="0" fontAlgn="base" hangingPunct="0">
              <a:spcBef>
                <a:spcPct val="20000"/>
              </a:spcBef>
              <a:spcAft>
                <a:spcPct val="0"/>
              </a:spcAft>
              <a:buClr>
                <a:schemeClr val="hlink"/>
              </a:buClr>
              <a:buChar char="•"/>
              <a:defRPr sz="1400">
                <a:solidFill>
                  <a:schemeClr val="tx1"/>
                </a:solidFill>
                <a:latin typeface="+mn-lt"/>
              </a:defRPr>
            </a:lvl3pPr>
            <a:lvl4pPr marL="1203325" indent="-173038" algn="l" rtl="0" eaLnBrk="0" fontAlgn="base" hangingPunct="0">
              <a:spcBef>
                <a:spcPct val="20000"/>
              </a:spcBef>
              <a:spcAft>
                <a:spcPct val="0"/>
              </a:spcAft>
              <a:buClr>
                <a:schemeClr val="bg1"/>
              </a:buClr>
              <a:defRPr sz="1600">
                <a:solidFill>
                  <a:schemeClr val="bg1"/>
                </a:solidFill>
                <a:latin typeface="+mn-lt"/>
              </a:defRPr>
            </a:lvl4pPr>
            <a:lvl5pPr marL="1539875" indent="-163513" algn="l" rtl="0" eaLnBrk="0" fontAlgn="base" hangingPunct="0">
              <a:spcBef>
                <a:spcPct val="20000"/>
              </a:spcBef>
              <a:spcAft>
                <a:spcPct val="0"/>
              </a:spcAft>
              <a:buClr>
                <a:schemeClr val="bg1"/>
              </a:buClr>
              <a:buChar char="»"/>
              <a:defRPr sz="1600">
                <a:solidFill>
                  <a:schemeClr val="bg1"/>
                </a:solidFill>
                <a:latin typeface="+mn-lt"/>
              </a:defRPr>
            </a:lvl5pPr>
            <a:lvl6pPr marL="1997075" indent="-163513" algn="l" rtl="0" fontAlgn="base">
              <a:spcBef>
                <a:spcPct val="20000"/>
              </a:spcBef>
              <a:spcAft>
                <a:spcPct val="0"/>
              </a:spcAft>
              <a:buClr>
                <a:schemeClr val="bg1"/>
              </a:buClr>
              <a:buChar char="»"/>
              <a:defRPr sz="1600">
                <a:solidFill>
                  <a:schemeClr val="bg1"/>
                </a:solidFill>
                <a:latin typeface="+mn-lt"/>
              </a:defRPr>
            </a:lvl6pPr>
            <a:lvl7pPr marL="2454275" indent="-163513" algn="l" rtl="0" fontAlgn="base">
              <a:spcBef>
                <a:spcPct val="20000"/>
              </a:spcBef>
              <a:spcAft>
                <a:spcPct val="0"/>
              </a:spcAft>
              <a:buClr>
                <a:schemeClr val="bg1"/>
              </a:buClr>
              <a:buChar char="»"/>
              <a:defRPr sz="1600">
                <a:solidFill>
                  <a:schemeClr val="bg1"/>
                </a:solidFill>
                <a:latin typeface="+mn-lt"/>
              </a:defRPr>
            </a:lvl7pPr>
            <a:lvl8pPr marL="2911475" indent="-163513" algn="l" rtl="0" fontAlgn="base">
              <a:spcBef>
                <a:spcPct val="20000"/>
              </a:spcBef>
              <a:spcAft>
                <a:spcPct val="0"/>
              </a:spcAft>
              <a:buClr>
                <a:schemeClr val="bg1"/>
              </a:buClr>
              <a:buChar char="»"/>
              <a:defRPr sz="1600">
                <a:solidFill>
                  <a:schemeClr val="bg1"/>
                </a:solidFill>
                <a:latin typeface="+mn-lt"/>
              </a:defRPr>
            </a:lvl8pPr>
            <a:lvl9pPr marL="3368675" indent="-163513" algn="l" rtl="0" fontAlgn="base">
              <a:spcBef>
                <a:spcPct val="20000"/>
              </a:spcBef>
              <a:spcAft>
                <a:spcPct val="0"/>
              </a:spcAft>
              <a:buClr>
                <a:schemeClr val="bg1"/>
              </a:buClr>
              <a:buChar char="»"/>
              <a:defRPr sz="1600">
                <a:solidFill>
                  <a:schemeClr val="bg1"/>
                </a:solidFill>
                <a:latin typeface="+mn-lt"/>
              </a:defRPr>
            </a:lvl9pPr>
          </a:lstStyle>
          <a:p>
            <a:pPr>
              <a:defRPr/>
            </a:pPr>
            <a:r>
              <a:rPr lang="de-CH" kern="0" dirty="0" err="1" smtClean="0"/>
              <a:t>Current</a:t>
            </a:r>
            <a:r>
              <a:rPr lang="de-CH" kern="0" dirty="0" smtClean="0"/>
              <a:t> </a:t>
            </a:r>
            <a:r>
              <a:rPr lang="de-CH" kern="0" dirty="0" err="1" smtClean="0"/>
              <a:t>state</a:t>
            </a:r>
            <a:endParaRPr lang="en-US" kern="0" dirty="0" smtClean="0"/>
          </a:p>
          <a:p>
            <a:pPr lvl="1">
              <a:defRPr/>
            </a:pPr>
            <a:r>
              <a:rPr lang="en-US" kern="0" dirty="0" smtClean="0"/>
              <a:t>Manual reconciliation of Excel sheets</a:t>
            </a:r>
          </a:p>
          <a:p>
            <a:pPr lvl="1">
              <a:defRPr/>
            </a:pPr>
            <a:r>
              <a:rPr lang="en-US" kern="0" dirty="0" smtClean="0"/>
              <a:t>Decentralized data storage</a:t>
            </a:r>
          </a:p>
          <a:p>
            <a:pPr lvl="1">
              <a:defRPr/>
            </a:pPr>
            <a:r>
              <a:rPr lang="de-CH" kern="0" dirty="0" err="1" smtClean="0"/>
              <a:t>No</a:t>
            </a:r>
            <a:r>
              <a:rPr lang="de-CH" kern="0" dirty="0" smtClean="0"/>
              <a:t> real-time </a:t>
            </a:r>
            <a:r>
              <a:rPr lang="de-CH" kern="0" dirty="0" err="1" smtClean="0"/>
              <a:t>project</a:t>
            </a:r>
            <a:r>
              <a:rPr lang="de-CH" kern="0" dirty="0" smtClean="0"/>
              <a:t> </a:t>
            </a:r>
            <a:r>
              <a:rPr lang="de-CH" kern="0" dirty="0" err="1" smtClean="0"/>
              <a:t>status</a:t>
            </a:r>
            <a:r>
              <a:rPr lang="de-CH" kern="0" dirty="0" smtClean="0"/>
              <a:t> </a:t>
            </a:r>
            <a:r>
              <a:rPr lang="de-CH" kern="0" dirty="0" err="1" smtClean="0"/>
              <a:t>information</a:t>
            </a:r>
            <a:endParaRPr lang="en-US" kern="0" dirty="0" smtClean="0"/>
          </a:p>
        </p:txBody>
      </p:sp>
      <p:sp>
        <p:nvSpPr>
          <p:cNvPr id="11" name="Rectangle 3"/>
          <p:cNvSpPr txBox="1">
            <a:spLocks noChangeArrowheads="1"/>
          </p:cNvSpPr>
          <p:nvPr/>
        </p:nvSpPr>
        <p:spPr bwMode="auto">
          <a:xfrm>
            <a:off x="5064125" y="5529263"/>
            <a:ext cx="4349750" cy="1100137"/>
          </a:xfrm>
          <a:prstGeom prst="rect">
            <a:avLst/>
          </a:prstGeom>
          <a:noFill/>
          <a:ln w="9525">
            <a:noFill/>
            <a:miter lim="800000"/>
            <a:headEnd/>
            <a:tailEnd/>
          </a:ln>
        </p:spPr>
        <p:txBody>
          <a:bodyPr/>
          <a:lstStyle>
            <a:lvl1pPr marL="173038" indent="-173038" algn="l" rtl="0" eaLnBrk="0" fontAlgn="base" hangingPunct="0">
              <a:spcBef>
                <a:spcPct val="20000"/>
              </a:spcBef>
              <a:spcAft>
                <a:spcPct val="0"/>
              </a:spcAft>
              <a:buClr>
                <a:schemeClr val="hlink"/>
              </a:buClr>
              <a:buFont typeface="Wingdings" pitchFamily="2" charset="2"/>
              <a:buChar char="§"/>
              <a:defRPr sz="1400">
                <a:solidFill>
                  <a:schemeClr val="tx1"/>
                </a:solidFill>
                <a:latin typeface="+mn-lt"/>
                <a:ea typeface="+mn-ea"/>
                <a:cs typeface="+mn-cs"/>
              </a:defRPr>
            </a:lvl1pPr>
            <a:lvl2pPr marL="509588" indent="-163513" algn="l" rtl="0" eaLnBrk="0" fontAlgn="base" hangingPunct="0">
              <a:spcBef>
                <a:spcPct val="20000"/>
              </a:spcBef>
              <a:spcAft>
                <a:spcPct val="0"/>
              </a:spcAft>
              <a:buClr>
                <a:schemeClr val="hlink"/>
              </a:buClr>
              <a:buFont typeface="Arial" charset="0"/>
              <a:buChar char="–"/>
              <a:defRPr sz="1400">
                <a:solidFill>
                  <a:schemeClr val="tx1"/>
                </a:solidFill>
                <a:latin typeface="+mn-lt"/>
              </a:defRPr>
            </a:lvl2pPr>
            <a:lvl3pPr marL="855663" indent="-173038" algn="l" rtl="0" eaLnBrk="0" fontAlgn="base" hangingPunct="0">
              <a:spcBef>
                <a:spcPct val="20000"/>
              </a:spcBef>
              <a:spcAft>
                <a:spcPct val="0"/>
              </a:spcAft>
              <a:buClr>
                <a:schemeClr val="hlink"/>
              </a:buClr>
              <a:buChar char="•"/>
              <a:defRPr sz="1400">
                <a:solidFill>
                  <a:schemeClr val="tx1"/>
                </a:solidFill>
                <a:latin typeface="+mn-lt"/>
              </a:defRPr>
            </a:lvl3pPr>
            <a:lvl4pPr marL="1203325" indent="-173038" algn="l" rtl="0" eaLnBrk="0" fontAlgn="base" hangingPunct="0">
              <a:spcBef>
                <a:spcPct val="20000"/>
              </a:spcBef>
              <a:spcAft>
                <a:spcPct val="0"/>
              </a:spcAft>
              <a:buClr>
                <a:schemeClr val="bg1"/>
              </a:buClr>
              <a:defRPr sz="1600">
                <a:solidFill>
                  <a:schemeClr val="bg1"/>
                </a:solidFill>
                <a:latin typeface="+mn-lt"/>
              </a:defRPr>
            </a:lvl4pPr>
            <a:lvl5pPr marL="1539875" indent="-163513" algn="l" rtl="0" eaLnBrk="0" fontAlgn="base" hangingPunct="0">
              <a:spcBef>
                <a:spcPct val="20000"/>
              </a:spcBef>
              <a:spcAft>
                <a:spcPct val="0"/>
              </a:spcAft>
              <a:buClr>
                <a:schemeClr val="bg1"/>
              </a:buClr>
              <a:buChar char="»"/>
              <a:defRPr sz="1600">
                <a:solidFill>
                  <a:schemeClr val="bg1"/>
                </a:solidFill>
                <a:latin typeface="+mn-lt"/>
              </a:defRPr>
            </a:lvl5pPr>
            <a:lvl6pPr marL="1997075" indent="-163513" algn="l" rtl="0" fontAlgn="base">
              <a:spcBef>
                <a:spcPct val="20000"/>
              </a:spcBef>
              <a:spcAft>
                <a:spcPct val="0"/>
              </a:spcAft>
              <a:buClr>
                <a:schemeClr val="bg1"/>
              </a:buClr>
              <a:buChar char="»"/>
              <a:defRPr sz="1600">
                <a:solidFill>
                  <a:schemeClr val="bg1"/>
                </a:solidFill>
                <a:latin typeface="+mn-lt"/>
              </a:defRPr>
            </a:lvl6pPr>
            <a:lvl7pPr marL="2454275" indent="-163513" algn="l" rtl="0" fontAlgn="base">
              <a:spcBef>
                <a:spcPct val="20000"/>
              </a:spcBef>
              <a:spcAft>
                <a:spcPct val="0"/>
              </a:spcAft>
              <a:buClr>
                <a:schemeClr val="bg1"/>
              </a:buClr>
              <a:buChar char="»"/>
              <a:defRPr sz="1600">
                <a:solidFill>
                  <a:schemeClr val="bg1"/>
                </a:solidFill>
                <a:latin typeface="+mn-lt"/>
              </a:defRPr>
            </a:lvl7pPr>
            <a:lvl8pPr marL="2911475" indent="-163513" algn="l" rtl="0" fontAlgn="base">
              <a:spcBef>
                <a:spcPct val="20000"/>
              </a:spcBef>
              <a:spcAft>
                <a:spcPct val="0"/>
              </a:spcAft>
              <a:buClr>
                <a:schemeClr val="bg1"/>
              </a:buClr>
              <a:buChar char="»"/>
              <a:defRPr sz="1600">
                <a:solidFill>
                  <a:schemeClr val="bg1"/>
                </a:solidFill>
                <a:latin typeface="+mn-lt"/>
              </a:defRPr>
            </a:lvl8pPr>
            <a:lvl9pPr marL="3368675" indent="-163513" algn="l" rtl="0" fontAlgn="base">
              <a:spcBef>
                <a:spcPct val="20000"/>
              </a:spcBef>
              <a:spcAft>
                <a:spcPct val="0"/>
              </a:spcAft>
              <a:buClr>
                <a:schemeClr val="bg1"/>
              </a:buClr>
              <a:buChar char="»"/>
              <a:defRPr sz="1600">
                <a:solidFill>
                  <a:schemeClr val="bg1"/>
                </a:solidFill>
                <a:latin typeface="+mn-lt"/>
              </a:defRPr>
            </a:lvl9pPr>
          </a:lstStyle>
          <a:p>
            <a:pPr>
              <a:defRPr/>
            </a:pPr>
            <a:r>
              <a:rPr lang="de-CH" kern="0" dirty="0" smtClean="0"/>
              <a:t>Future </a:t>
            </a:r>
            <a:r>
              <a:rPr lang="de-CH" kern="0" dirty="0" err="1" smtClean="0"/>
              <a:t>state</a:t>
            </a:r>
            <a:endParaRPr lang="en-US" kern="0" dirty="0" smtClean="0"/>
          </a:p>
          <a:p>
            <a:pPr lvl="1">
              <a:defRPr/>
            </a:pPr>
            <a:r>
              <a:rPr lang="en-US" kern="0" dirty="0" smtClean="0"/>
              <a:t>Automated reconciliation and reports</a:t>
            </a:r>
          </a:p>
          <a:p>
            <a:pPr lvl="1">
              <a:defRPr/>
            </a:pPr>
            <a:r>
              <a:rPr lang="en-US" kern="0" dirty="0" smtClean="0"/>
              <a:t>Centralized data storage in relational DB</a:t>
            </a:r>
          </a:p>
          <a:p>
            <a:pPr lvl="1">
              <a:defRPr/>
            </a:pPr>
            <a:r>
              <a:rPr lang="de-CH" kern="0" dirty="0" smtClean="0"/>
              <a:t>Real-time </a:t>
            </a:r>
            <a:r>
              <a:rPr lang="de-CH" kern="0" dirty="0" err="1" smtClean="0"/>
              <a:t>project</a:t>
            </a:r>
            <a:r>
              <a:rPr lang="de-CH" kern="0" dirty="0" smtClean="0"/>
              <a:t> </a:t>
            </a:r>
            <a:r>
              <a:rPr lang="de-CH" kern="0" dirty="0" err="1" smtClean="0"/>
              <a:t>status</a:t>
            </a:r>
            <a:r>
              <a:rPr lang="de-CH" kern="0" dirty="0" smtClean="0"/>
              <a:t> </a:t>
            </a:r>
            <a:r>
              <a:rPr lang="de-CH" kern="0" dirty="0" err="1" smtClean="0"/>
              <a:t>information</a:t>
            </a:r>
            <a:endParaRPr lang="en-US" kern="0" dirty="0" smtClean="0"/>
          </a:p>
        </p:txBody>
      </p:sp>
      <p:pic>
        <p:nvPicPr>
          <p:cNvPr id="109580" name="Picture 2"/>
          <p:cNvPicPr>
            <a:picLocks noChangeAspect="1"/>
          </p:cNvPicPr>
          <p:nvPr/>
        </p:nvPicPr>
        <p:blipFill>
          <a:blip r:embed="rId7"/>
          <a:srcRect/>
          <a:stretch>
            <a:fillRect/>
          </a:stretch>
        </p:blipFill>
        <p:spPr bwMode="auto">
          <a:xfrm rot="1800000">
            <a:off x="2514600" y="3665538"/>
            <a:ext cx="1520825" cy="719137"/>
          </a:xfrm>
          <a:prstGeom prst="rect">
            <a:avLst/>
          </a:prstGeom>
          <a:noFill/>
          <a:ln w="9525">
            <a:noFill/>
            <a:miter lim="800000"/>
            <a:headEnd/>
            <a:tailEnd/>
          </a:ln>
        </p:spPr>
      </p:pic>
      <p:sp>
        <p:nvSpPr>
          <p:cNvPr id="12" name="TextBox 11"/>
          <p:cNvSpPr txBox="1">
            <a:spLocks noChangeArrowheads="1"/>
          </p:cNvSpPr>
          <p:nvPr/>
        </p:nvSpPr>
        <p:spPr bwMode="auto">
          <a:xfrm>
            <a:off x="1020763" y="3763963"/>
            <a:ext cx="1671637" cy="307975"/>
          </a:xfrm>
          <a:prstGeom prst="rect">
            <a:avLst/>
          </a:prstGeom>
          <a:solidFill>
            <a:srgbClr val="FFCCCC"/>
          </a:solidFill>
          <a:ln w="9525">
            <a:solidFill>
              <a:srgbClr val="FF0000"/>
            </a:solidFill>
            <a:miter lim="800000"/>
            <a:headEnd/>
            <a:tailEnd/>
          </a:ln>
        </p:spPr>
        <p:txBody>
          <a:bodyPr>
            <a:spAutoFit/>
          </a:bodyPr>
          <a:lstStyle/>
          <a:p>
            <a:pPr algn="ctr"/>
            <a:r>
              <a:rPr lang="de-CH" sz="1400"/>
              <a:t>Source of errors</a:t>
            </a:r>
            <a:endParaRPr lang="en-US" sz="1400"/>
          </a:p>
        </p:txBody>
      </p:sp>
      <p:sp>
        <p:nvSpPr>
          <p:cNvPr id="14" name="TextBox 13"/>
          <p:cNvSpPr txBox="1">
            <a:spLocks noChangeArrowheads="1"/>
          </p:cNvSpPr>
          <p:nvPr/>
        </p:nvSpPr>
        <p:spPr bwMode="auto">
          <a:xfrm>
            <a:off x="1568450" y="2093913"/>
            <a:ext cx="1671638" cy="307975"/>
          </a:xfrm>
          <a:prstGeom prst="rect">
            <a:avLst/>
          </a:prstGeom>
          <a:solidFill>
            <a:srgbClr val="FFCCCC"/>
          </a:solidFill>
          <a:ln w="9525">
            <a:solidFill>
              <a:srgbClr val="FF0000"/>
            </a:solidFill>
            <a:miter lim="800000"/>
            <a:headEnd/>
            <a:tailEnd/>
          </a:ln>
        </p:spPr>
        <p:txBody>
          <a:bodyPr>
            <a:spAutoFit/>
          </a:bodyPr>
          <a:lstStyle/>
          <a:p>
            <a:pPr algn="ctr"/>
            <a:r>
              <a:rPr lang="de-CH" sz="1400"/>
              <a:t>Delays</a:t>
            </a:r>
            <a:endParaRPr lang="en-US" sz="140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0594" name="Picture 6"/>
          <p:cNvPicPr>
            <a:picLocks noChangeAspect="1"/>
          </p:cNvPicPr>
          <p:nvPr/>
        </p:nvPicPr>
        <p:blipFill>
          <a:blip r:embed="rId2"/>
          <a:srcRect/>
          <a:stretch>
            <a:fillRect/>
          </a:stretch>
        </p:blipFill>
        <p:spPr bwMode="auto">
          <a:xfrm>
            <a:off x="1801813" y="593725"/>
            <a:ext cx="4554537" cy="6127750"/>
          </a:xfrm>
          <a:prstGeom prst="rect">
            <a:avLst/>
          </a:prstGeom>
          <a:noFill/>
          <a:ln w="9525">
            <a:noFill/>
            <a:miter lim="800000"/>
            <a:headEnd/>
            <a:tailEnd/>
          </a:ln>
        </p:spPr>
      </p:pic>
      <p:sp>
        <p:nvSpPr>
          <p:cNvPr id="110595" name="Title 1"/>
          <p:cNvSpPr>
            <a:spLocks noGrp="1"/>
          </p:cNvSpPr>
          <p:nvPr>
            <p:ph type="title" idx="4294967295"/>
          </p:nvPr>
        </p:nvSpPr>
        <p:spPr/>
        <p:txBody>
          <a:bodyPr/>
          <a:lstStyle/>
          <a:p>
            <a:r>
              <a:rPr lang="de-CH" smtClean="0"/>
              <a:t>Data Collection Process</a:t>
            </a:r>
            <a:endParaRPr lang="en-US" smtClean="0"/>
          </a:p>
        </p:txBody>
      </p:sp>
      <p:sp>
        <p:nvSpPr>
          <p:cNvPr id="4" name="Slide Number Placeholder 3"/>
          <p:cNvSpPr txBox="1">
            <a:spLocks noGrp="1"/>
          </p:cNvSpPr>
          <p:nvPr/>
        </p:nvSpPr>
        <p:spPr bwMode="black">
          <a:xfrm>
            <a:off x="182563" y="6537325"/>
            <a:ext cx="366712" cy="184150"/>
          </a:xfrm>
          <a:prstGeom prst="rect">
            <a:avLst/>
          </a:prstGeom>
          <a:noFill/>
          <a:ln>
            <a:miter lim="800000"/>
            <a:headEnd/>
            <a:tailEnd/>
          </a:ln>
        </p:spPr>
        <p:txBody>
          <a:bodyPr lIns="92075" tIns="46038" rIns="92075" bIns="46038"/>
          <a:lstStyle/>
          <a:p>
            <a:pPr fontAlgn="auto">
              <a:spcBef>
                <a:spcPts val="0"/>
              </a:spcBef>
              <a:spcAft>
                <a:spcPts val="0"/>
              </a:spcAft>
              <a:defRPr/>
            </a:pPr>
            <a:fld id="{35EECFCE-1FC0-43F3-A57D-D6606A325F06}" type="slidenum">
              <a:rPr lang="en-US" sz="800">
                <a:latin typeface="+mn-lt"/>
                <a:cs typeface="+mn-cs"/>
              </a:rPr>
              <a:pPr fontAlgn="auto">
                <a:spcBef>
                  <a:spcPts val="0"/>
                </a:spcBef>
                <a:spcAft>
                  <a:spcPts val="0"/>
                </a:spcAft>
                <a:defRPr/>
              </a:pPr>
              <a:t>31</a:t>
            </a:fld>
            <a:endParaRPr lang="en-US" sz="800">
              <a:latin typeface="+mn-lt"/>
              <a:cs typeface="+mn-cs"/>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1618" name="Picture 2"/>
          <p:cNvPicPr>
            <a:picLocks noChangeAspect="1"/>
          </p:cNvPicPr>
          <p:nvPr/>
        </p:nvPicPr>
        <p:blipFill>
          <a:blip r:embed="rId2"/>
          <a:srcRect r="-1035" b="50175"/>
          <a:stretch>
            <a:fillRect/>
          </a:stretch>
        </p:blipFill>
        <p:spPr bwMode="auto">
          <a:xfrm>
            <a:off x="558800" y="1266825"/>
            <a:ext cx="8356600" cy="5545138"/>
          </a:xfrm>
          <a:prstGeom prst="rect">
            <a:avLst/>
          </a:prstGeom>
          <a:noFill/>
          <a:ln w="9525">
            <a:noFill/>
            <a:miter lim="800000"/>
            <a:headEnd/>
            <a:tailEnd/>
          </a:ln>
        </p:spPr>
      </p:pic>
      <p:sp>
        <p:nvSpPr>
          <p:cNvPr id="111619" name="Title 1"/>
          <p:cNvSpPr>
            <a:spLocks noGrp="1"/>
          </p:cNvSpPr>
          <p:nvPr>
            <p:ph type="title" idx="4294967295"/>
          </p:nvPr>
        </p:nvSpPr>
        <p:spPr/>
        <p:txBody>
          <a:bodyPr/>
          <a:lstStyle/>
          <a:p>
            <a:r>
              <a:rPr lang="de-CH" smtClean="0"/>
              <a:t>Data Collection Process</a:t>
            </a:r>
            <a:endParaRPr lang="en-US" smtClean="0"/>
          </a:p>
        </p:txBody>
      </p:sp>
      <p:sp>
        <p:nvSpPr>
          <p:cNvPr id="4" name="Slide Number Placeholder 3"/>
          <p:cNvSpPr txBox="1">
            <a:spLocks noGrp="1"/>
          </p:cNvSpPr>
          <p:nvPr/>
        </p:nvSpPr>
        <p:spPr bwMode="black">
          <a:xfrm>
            <a:off x="182563" y="6537325"/>
            <a:ext cx="366712" cy="184150"/>
          </a:xfrm>
          <a:prstGeom prst="rect">
            <a:avLst/>
          </a:prstGeom>
          <a:noFill/>
          <a:ln>
            <a:miter lim="800000"/>
            <a:headEnd/>
            <a:tailEnd/>
          </a:ln>
        </p:spPr>
        <p:txBody>
          <a:bodyPr lIns="92075" tIns="46038" rIns="92075" bIns="46038"/>
          <a:lstStyle/>
          <a:p>
            <a:pPr fontAlgn="auto">
              <a:spcBef>
                <a:spcPts val="0"/>
              </a:spcBef>
              <a:spcAft>
                <a:spcPts val="0"/>
              </a:spcAft>
              <a:defRPr/>
            </a:pPr>
            <a:fld id="{094B23D3-7923-4FBE-8E00-5FD01CE214EE}" type="slidenum">
              <a:rPr lang="en-US" sz="800">
                <a:latin typeface="+mn-lt"/>
                <a:cs typeface="+mn-cs"/>
              </a:rPr>
              <a:pPr fontAlgn="auto">
                <a:spcBef>
                  <a:spcPts val="0"/>
                </a:spcBef>
                <a:spcAft>
                  <a:spcPts val="0"/>
                </a:spcAft>
                <a:defRPr/>
              </a:pPr>
              <a:t>32</a:t>
            </a:fld>
            <a:endParaRPr lang="en-US" sz="800">
              <a:latin typeface="+mn-lt"/>
              <a:cs typeface="+mn-cs"/>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Title 1"/>
          <p:cNvSpPr>
            <a:spLocks noGrp="1"/>
          </p:cNvSpPr>
          <p:nvPr>
            <p:ph type="title" idx="4294967295"/>
          </p:nvPr>
        </p:nvSpPr>
        <p:spPr/>
        <p:txBody>
          <a:bodyPr/>
          <a:lstStyle/>
          <a:p>
            <a:r>
              <a:rPr lang="de-CH" smtClean="0"/>
              <a:t>Data Collection Process</a:t>
            </a:r>
            <a:endParaRPr lang="en-US" smtClean="0"/>
          </a:p>
        </p:txBody>
      </p:sp>
      <p:sp>
        <p:nvSpPr>
          <p:cNvPr id="4" name="Slide Number Placeholder 3"/>
          <p:cNvSpPr txBox="1">
            <a:spLocks noGrp="1"/>
          </p:cNvSpPr>
          <p:nvPr/>
        </p:nvSpPr>
        <p:spPr bwMode="black">
          <a:xfrm>
            <a:off x="182563" y="6537325"/>
            <a:ext cx="366712" cy="184150"/>
          </a:xfrm>
          <a:prstGeom prst="rect">
            <a:avLst/>
          </a:prstGeom>
          <a:noFill/>
          <a:ln>
            <a:miter lim="800000"/>
            <a:headEnd/>
            <a:tailEnd/>
          </a:ln>
        </p:spPr>
        <p:txBody>
          <a:bodyPr lIns="92075" tIns="46038" rIns="92075" bIns="46038"/>
          <a:lstStyle/>
          <a:p>
            <a:pPr fontAlgn="auto">
              <a:spcBef>
                <a:spcPts val="0"/>
              </a:spcBef>
              <a:spcAft>
                <a:spcPts val="0"/>
              </a:spcAft>
              <a:defRPr/>
            </a:pPr>
            <a:fld id="{AB1F3796-A353-4769-8F58-E47D7B7466DF}" type="slidenum">
              <a:rPr lang="en-US" sz="800">
                <a:latin typeface="+mn-lt"/>
                <a:cs typeface="+mn-cs"/>
              </a:rPr>
              <a:pPr fontAlgn="auto">
                <a:spcBef>
                  <a:spcPts val="0"/>
                </a:spcBef>
                <a:spcAft>
                  <a:spcPts val="0"/>
                </a:spcAft>
                <a:defRPr/>
              </a:pPr>
              <a:t>33</a:t>
            </a:fld>
            <a:endParaRPr lang="en-US" sz="800">
              <a:latin typeface="+mn-lt"/>
              <a:cs typeface="+mn-cs"/>
            </a:endParaRPr>
          </a:p>
        </p:txBody>
      </p:sp>
      <p:pic>
        <p:nvPicPr>
          <p:cNvPr id="112644" name="Picture 5"/>
          <p:cNvPicPr>
            <a:picLocks noChangeAspect="1"/>
          </p:cNvPicPr>
          <p:nvPr/>
        </p:nvPicPr>
        <p:blipFill>
          <a:blip r:embed="rId2"/>
          <a:srcRect t="37613"/>
          <a:stretch>
            <a:fillRect/>
          </a:stretch>
        </p:blipFill>
        <p:spPr bwMode="auto">
          <a:xfrm>
            <a:off x="1554163" y="968375"/>
            <a:ext cx="6888162" cy="57816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3666" name="Picture 2"/>
          <p:cNvPicPr>
            <a:picLocks noChangeAspect="1"/>
          </p:cNvPicPr>
          <p:nvPr/>
        </p:nvPicPr>
        <p:blipFill>
          <a:blip r:embed="rId2"/>
          <a:srcRect/>
          <a:stretch>
            <a:fillRect/>
          </a:stretch>
        </p:blipFill>
        <p:spPr bwMode="auto">
          <a:xfrm>
            <a:off x="280988" y="1376363"/>
            <a:ext cx="7454900" cy="5021262"/>
          </a:xfrm>
          <a:prstGeom prst="rect">
            <a:avLst/>
          </a:prstGeom>
          <a:noFill/>
          <a:ln w="9525">
            <a:noFill/>
            <a:miter lim="800000"/>
            <a:headEnd/>
            <a:tailEnd/>
          </a:ln>
        </p:spPr>
      </p:pic>
      <p:sp>
        <p:nvSpPr>
          <p:cNvPr id="113667" name="Rectangle 2"/>
          <p:cNvSpPr>
            <a:spLocks noGrp="1" noChangeArrowheads="1"/>
          </p:cNvSpPr>
          <p:nvPr>
            <p:ph type="title" idx="4294967295"/>
          </p:nvPr>
        </p:nvSpPr>
        <p:spPr/>
        <p:txBody>
          <a:bodyPr/>
          <a:lstStyle/>
          <a:p>
            <a:r>
              <a:rPr lang="en-US" smtClean="0"/>
              <a:t>Template Design Screen</a:t>
            </a: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2"/>
          <p:cNvSpPr>
            <a:spLocks noGrp="1" noChangeArrowheads="1"/>
          </p:cNvSpPr>
          <p:nvPr>
            <p:ph type="title" idx="4294967295"/>
          </p:nvPr>
        </p:nvSpPr>
        <p:spPr/>
        <p:txBody>
          <a:bodyPr/>
          <a:lstStyle/>
          <a:p>
            <a:r>
              <a:rPr lang="en-US" smtClean="0"/>
              <a:t>Assign Data Collection Task</a:t>
            </a:r>
          </a:p>
        </p:txBody>
      </p:sp>
      <p:pic>
        <p:nvPicPr>
          <p:cNvPr id="114691" name="Picture 3"/>
          <p:cNvPicPr>
            <a:picLocks noChangeAspect="1"/>
          </p:cNvPicPr>
          <p:nvPr/>
        </p:nvPicPr>
        <p:blipFill>
          <a:blip r:embed="rId2"/>
          <a:srcRect/>
          <a:stretch>
            <a:fillRect/>
          </a:stretch>
        </p:blipFill>
        <p:spPr bwMode="auto">
          <a:xfrm>
            <a:off x="274638" y="1371600"/>
            <a:ext cx="7461250" cy="50260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2"/>
          <p:cNvSpPr>
            <a:spLocks noGrp="1" noChangeArrowheads="1"/>
          </p:cNvSpPr>
          <p:nvPr>
            <p:ph type="title" idx="4294967295"/>
          </p:nvPr>
        </p:nvSpPr>
        <p:spPr/>
        <p:txBody>
          <a:bodyPr/>
          <a:lstStyle/>
          <a:p>
            <a:r>
              <a:rPr lang="en-US" smtClean="0"/>
              <a:t>Enter Data at Branch Level</a:t>
            </a:r>
          </a:p>
        </p:txBody>
      </p:sp>
      <p:pic>
        <p:nvPicPr>
          <p:cNvPr id="115715" name="Picture 4"/>
          <p:cNvPicPr>
            <a:picLocks noChangeAspect="1"/>
          </p:cNvPicPr>
          <p:nvPr/>
        </p:nvPicPr>
        <p:blipFill>
          <a:blip r:embed="rId2"/>
          <a:srcRect/>
          <a:stretch>
            <a:fillRect/>
          </a:stretch>
        </p:blipFill>
        <p:spPr bwMode="auto">
          <a:xfrm>
            <a:off x="274638" y="1371600"/>
            <a:ext cx="7342187" cy="4945063"/>
          </a:xfrm>
          <a:prstGeom prst="rect">
            <a:avLst/>
          </a:prstGeom>
          <a:noFill/>
          <a:ln w="9525">
            <a:noFill/>
            <a:miter lim="800000"/>
            <a:headEnd/>
            <a:tailEnd/>
          </a:ln>
        </p:spPr>
      </p:pic>
      <p:pic>
        <p:nvPicPr>
          <p:cNvPr id="115716" name="Picture 2"/>
          <p:cNvPicPr>
            <a:picLocks noChangeAspect="1"/>
          </p:cNvPicPr>
          <p:nvPr/>
        </p:nvPicPr>
        <p:blipFill>
          <a:blip r:embed="rId3"/>
          <a:srcRect/>
          <a:stretch>
            <a:fillRect/>
          </a:stretch>
        </p:blipFill>
        <p:spPr bwMode="auto">
          <a:xfrm>
            <a:off x="274638" y="1371600"/>
            <a:ext cx="7342187" cy="494506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Rectangle 2"/>
          <p:cNvSpPr>
            <a:spLocks noGrp="1" noChangeArrowheads="1"/>
          </p:cNvSpPr>
          <p:nvPr>
            <p:ph type="title" idx="4294967295"/>
          </p:nvPr>
        </p:nvSpPr>
        <p:spPr/>
        <p:txBody>
          <a:bodyPr/>
          <a:lstStyle/>
          <a:p>
            <a:r>
              <a:rPr lang="de-CH" smtClean="0"/>
              <a:t>Validation Process</a:t>
            </a:r>
            <a:endParaRPr lang="en-US" smtClean="0"/>
          </a:p>
        </p:txBody>
      </p:sp>
      <p:pic>
        <p:nvPicPr>
          <p:cNvPr id="116739" name="Picture 4"/>
          <p:cNvPicPr>
            <a:picLocks noChangeAspect="1"/>
          </p:cNvPicPr>
          <p:nvPr/>
        </p:nvPicPr>
        <p:blipFill>
          <a:blip r:embed="rId2"/>
          <a:srcRect/>
          <a:stretch>
            <a:fillRect/>
          </a:stretch>
        </p:blipFill>
        <p:spPr bwMode="auto">
          <a:xfrm>
            <a:off x="3616325" y="98425"/>
            <a:ext cx="3733800" cy="6604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7762" name="Picture 2"/>
          <p:cNvPicPr>
            <a:picLocks noChangeAspect="1"/>
          </p:cNvPicPr>
          <p:nvPr/>
        </p:nvPicPr>
        <p:blipFill>
          <a:blip r:embed="rId2"/>
          <a:srcRect/>
          <a:stretch>
            <a:fillRect/>
          </a:stretch>
        </p:blipFill>
        <p:spPr bwMode="auto">
          <a:xfrm>
            <a:off x="274638" y="1371600"/>
            <a:ext cx="7342187" cy="4945063"/>
          </a:xfrm>
          <a:prstGeom prst="rect">
            <a:avLst/>
          </a:prstGeom>
          <a:noFill/>
          <a:ln w="9525">
            <a:noFill/>
            <a:miter lim="800000"/>
            <a:headEnd/>
            <a:tailEnd/>
          </a:ln>
        </p:spPr>
      </p:pic>
      <p:sp>
        <p:nvSpPr>
          <p:cNvPr id="117763" name="Rectangle 2"/>
          <p:cNvSpPr>
            <a:spLocks noGrp="1" noChangeArrowheads="1"/>
          </p:cNvSpPr>
          <p:nvPr>
            <p:ph type="title" idx="4294967295"/>
          </p:nvPr>
        </p:nvSpPr>
        <p:spPr/>
        <p:txBody>
          <a:bodyPr/>
          <a:lstStyle/>
          <a:p>
            <a:r>
              <a:rPr lang="en-US" smtClean="0"/>
              <a:t>Validate collected Data at National Level</a:t>
            </a: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8786" name="Picture 1"/>
          <p:cNvPicPr>
            <a:picLocks noChangeAspect="1"/>
          </p:cNvPicPr>
          <p:nvPr/>
        </p:nvPicPr>
        <p:blipFill>
          <a:blip r:embed="rId2"/>
          <a:srcRect/>
          <a:stretch>
            <a:fillRect/>
          </a:stretch>
        </p:blipFill>
        <p:spPr bwMode="auto">
          <a:xfrm>
            <a:off x="176213" y="593725"/>
            <a:ext cx="7727950" cy="5989638"/>
          </a:xfrm>
          <a:prstGeom prst="rect">
            <a:avLst/>
          </a:prstGeom>
          <a:noFill/>
          <a:ln w="9525">
            <a:noFill/>
            <a:miter lim="800000"/>
            <a:headEnd/>
            <a:tailEnd/>
          </a:ln>
        </p:spPr>
      </p:pic>
      <p:sp>
        <p:nvSpPr>
          <p:cNvPr id="118787" name="Rectangle 2"/>
          <p:cNvSpPr>
            <a:spLocks noGrp="1" noChangeArrowheads="1"/>
          </p:cNvSpPr>
          <p:nvPr>
            <p:ph type="title" idx="4294967295"/>
          </p:nvPr>
        </p:nvSpPr>
        <p:spPr/>
        <p:txBody>
          <a:bodyPr/>
          <a:lstStyle/>
          <a:p>
            <a:r>
              <a:rPr lang="en-US" smtClean="0"/>
              <a:t>Data Model</a:t>
            </a:r>
          </a:p>
        </p:txBody>
      </p:sp>
      <p:sp>
        <p:nvSpPr>
          <p:cNvPr id="118788" name="Freeform 2"/>
          <p:cNvSpPr>
            <a:spLocks/>
          </p:cNvSpPr>
          <p:nvPr/>
        </p:nvSpPr>
        <p:spPr bwMode="gray">
          <a:xfrm>
            <a:off x="180975" y="3124200"/>
            <a:ext cx="1508125" cy="2179638"/>
          </a:xfrm>
          <a:custGeom>
            <a:avLst/>
            <a:gdLst>
              <a:gd name="T0" fmla="*/ 1508760 w 1516380"/>
              <a:gd name="T1" fmla="*/ 2148840 h 2179320"/>
              <a:gd name="T2" fmla="*/ 1508760 w 1516380"/>
              <a:gd name="T3" fmla="*/ 0 h 2179320"/>
              <a:gd name="T4" fmla="*/ 0 w 1516380"/>
              <a:gd name="T5" fmla="*/ 0 h 2179320"/>
              <a:gd name="T6" fmla="*/ 0 w 1516380"/>
              <a:gd name="T7" fmla="*/ 2179320 h 2179320"/>
              <a:gd name="T8" fmla="*/ 1508760 w 1516380"/>
              <a:gd name="T9" fmla="*/ 2148840 h 21793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16380" h="2179320">
                <a:moveTo>
                  <a:pt x="1516380" y="2148840"/>
                </a:moveTo>
                <a:lnTo>
                  <a:pt x="1516380" y="0"/>
                </a:lnTo>
                <a:lnTo>
                  <a:pt x="0" y="0"/>
                </a:lnTo>
                <a:lnTo>
                  <a:pt x="0" y="2179320"/>
                </a:lnTo>
                <a:lnTo>
                  <a:pt x="1516380" y="2148840"/>
                </a:lnTo>
                <a:close/>
              </a:path>
            </a:pathLst>
          </a:custGeom>
          <a:noFill/>
          <a:ln w="12700">
            <a:solidFill>
              <a:srgbClr val="FFC000"/>
            </a:solidFill>
            <a:miter lim="800000"/>
            <a:headEnd/>
            <a:tailEnd/>
          </a:ln>
        </p:spPr>
        <p:txBody>
          <a:bodyPr lIns="0" tIns="0" rIns="0" bIns="0" anchor="ctr"/>
          <a:lstStyle/>
          <a:p>
            <a:endParaRPr lang="en-US"/>
          </a:p>
        </p:txBody>
      </p:sp>
      <p:sp>
        <p:nvSpPr>
          <p:cNvPr id="118789" name="Freeform 3"/>
          <p:cNvSpPr>
            <a:spLocks/>
          </p:cNvSpPr>
          <p:nvPr/>
        </p:nvSpPr>
        <p:spPr bwMode="gray">
          <a:xfrm>
            <a:off x="1349375" y="587375"/>
            <a:ext cx="4616450" cy="4129088"/>
          </a:xfrm>
          <a:custGeom>
            <a:avLst/>
            <a:gdLst>
              <a:gd name="T0" fmla="*/ 3169920 w 4617720"/>
              <a:gd name="T1" fmla="*/ 4130040 h 4130040"/>
              <a:gd name="T2" fmla="*/ 342900 w 4617720"/>
              <a:gd name="T3" fmla="*/ 4130040 h 4130040"/>
              <a:gd name="T4" fmla="*/ 342900 w 4617720"/>
              <a:gd name="T5" fmla="*/ 2225040 h 4130040"/>
              <a:gd name="T6" fmla="*/ 0 w 4617720"/>
              <a:gd name="T7" fmla="*/ 1409700 h 4130040"/>
              <a:gd name="T8" fmla="*/ 0 w 4617720"/>
              <a:gd name="T9" fmla="*/ 716280 h 4130040"/>
              <a:gd name="T10" fmla="*/ 3086100 w 4617720"/>
              <a:gd name="T11" fmla="*/ 0 h 4130040"/>
              <a:gd name="T12" fmla="*/ 4617720 w 4617720"/>
              <a:gd name="T13" fmla="*/ 0 h 4130040"/>
              <a:gd name="T14" fmla="*/ 4617720 w 4617720"/>
              <a:gd name="T15" fmla="*/ 685800 h 4130040"/>
              <a:gd name="T16" fmla="*/ 3901439 w 4617720"/>
              <a:gd name="T17" fmla="*/ 899160 h 4130040"/>
              <a:gd name="T18" fmla="*/ 3451860 w 4617720"/>
              <a:gd name="T19" fmla="*/ 899160 h 4130040"/>
              <a:gd name="T20" fmla="*/ 3451860 w 4617720"/>
              <a:gd name="T21" fmla="*/ 2186940 h 4130040"/>
              <a:gd name="T22" fmla="*/ 4569460 w 4617720"/>
              <a:gd name="T23" fmla="*/ 2359660 h 4130040"/>
              <a:gd name="T24" fmla="*/ 4391660 w 4617720"/>
              <a:gd name="T25" fmla="*/ 3124200 h 4130040"/>
              <a:gd name="T26" fmla="*/ 3208020 w 4617720"/>
              <a:gd name="T27" fmla="*/ 3126740 h 4130040"/>
              <a:gd name="T28" fmla="*/ 3169920 w 4617720"/>
              <a:gd name="T29" fmla="*/ 4130040 h 41300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17720" h="4130040">
                <a:moveTo>
                  <a:pt x="3169920" y="4130040"/>
                </a:moveTo>
                <a:lnTo>
                  <a:pt x="342900" y="4130040"/>
                </a:lnTo>
                <a:lnTo>
                  <a:pt x="342900" y="2225040"/>
                </a:lnTo>
                <a:lnTo>
                  <a:pt x="0" y="1409700"/>
                </a:lnTo>
                <a:lnTo>
                  <a:pt x="0" y="716280"/>
                </a:lnTo>
                <a:lnTo>
                  <a:pt x="3086100" y="0"/>
                </a:lnTo>
                <a:lnTo>
                  <a:pt x="4617720" y="0"/>
                </a:lnTo>
                <a:lnTo>
                  <a:pt x="4617720" y="685800"/>
                </a:lnTo>
                <a:lnTo>
                  <a:pt x="3901440" y="899160"/>
                </a:lnTo>
                <a:lnTo>
                  <a:pt x="3451860" y="899160"/>
                </a:lnTo>
                <a:lnTo>
                  <a:pt x="3451860" y="2186940"/>
                </a:lnTo>
                <a:lnTo>
                  <a:pt x="4569460" y="2359660"/>
                </a:lnTo>
                <a:lnTo>
                  <a:pt x="4391660" y="3124200"/>
                </a:lnTo>
                <a:lnTo>
                  <a:pt x="3208020" y="3126740"/>
                </a:lnTo>
                <a:lnTo>
                  <a:pt x="3169920" y="4130040"/>
                </a:lnTo>
                <a:close/>
              </a:path>
            </a:pathLst>
          </a:custGeom>
          <a:noFill/>
          <a:ln w="12700">
            <a:solidFill>
              <a:srgbClr val="FFC000"/>
            </a:solidFill>
            <a:miter lim="800000"/>
            <a:headEnd/>
            <a:tailEnd/>
          </a:ln>
        </p:spPr>
        <p:txBody>
          <a:bodyPr lIns="0" tIns="0" rIns="0" bIns="0" anchor="ctr"/>
          <a:lstStyle/>
          <a:p>
            <a:endParaRPr lang="en-US"/>
          </a:p>
        </p:txBody>
      </p:sp>
      <p:sp>
        <p:nvSpPr>
          <p:cNvPr id="118790" name="Freeform 5"/>
          <p:cNvSpPr>
            <a:spLocks/>
          </p:cNvSpPr>
          <p:nvPr/>
        </p:nvSpPr>
        <p:spPr bwMode="gray">
          <a:xfrm>
            <a:off x="1684338" y="3551238"/>
            <a:ext cx="6270625" cy="2917825"/>
          </a:xfrm>
          <a:custGeom>
            <a:avLst/>
            <a:gdLst>
              <a:gd name="T0" fmla="*/ 0 w 6271260"/>
              <a:gd name="T1" fmla="*/ 1165860 h 2918460"/>
              <a:gd name="T2" fmla="*/ 0 w 6271260"/>
              <a:gd name="T3" fmla="*/ 2918460 h 2918460"/>
              <a:gd name="T4" fmla="*/ 4823460 w 6271260"/>
              <a:gd name="T5" fmla="*/ 2918460 h 2918460"/>
              <a:gd name="T6" fmla="*/ 6271260 w 6271260"/>
              <a:gd name="T7" fmla="*/ 1272540 h 2918460"/>
              <a:gd name="T8" fmla="*/ 6271260 w 6271260"/>
              <a:gd name="T9" fmla="*/ 312420 h 2918460"/>
              <a:gd name="T10" fmla="*/ 5135880 w 6271260"/>
              <a:gd name="T11" fmla="*/ 68580 h 2918460"/>
              <a:gd name="T12" fmla="*/ 4533901 w 6271260"/>
              <a:gd name="T13" fmla="*/ 0 h 2918460"/>
              <a:gd name="T14" fmla="*/ 4183380 w 6271260"/>
              <a:gd name="T15" fmla="*/ 0 h 2918460"/>
              <a:gd name="T16" fmla="*/ 4053840 w 6271260"/>
              <a:gd name="T17" fmla="*/ 160020 h 2918460"/>
              <a:gd name="T18" fmla="*/ 2872740 w 6271260"/>
              <a:gd name="T19" fmla="*/ 160020 h 2918460"/>
              <a:gd name="T20" fmla="*/ 2834640 w 6271260"/>
              <a:gd name="T21" fmla="*/ 1165860 h 2918460"/>
              <a:gd name="T22" fmla="*/ 0 w 6271260"/>
              <a:gd name="T23" fmla="*/ 1165860 h 291846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271260" h="2918460">
                <a:moveTo>
                  <a:pt x="0" y="1165860"/>
                </a:moveTo>
                <a:lnTo>
                  <a:pt x="0" y="2918460"/>
                </a:lnTo>
                <a:lnTo>
                  <a:pt x="4823460" y="2918460"/>
                </a:lnTo>
                <a:lnTo>
                  <a:pt x="6271260" y="1272540"/>
                </a:lnTo>
                <a:lnTo>
                  <a:pt x="6271260" y="312420"/>
                </a:lnTo>
                <a:lnTo>
                  <a:pt x="5135880" y="68580"/>
                </a:lnTo>
                <a:lnTo>
                  <a:pt x="4533900" y="0"/>
                </a:lnTo>
                <a:lnTo>
                  <a:pt x="4183380" y="0"/>
                </a:lnTo>
                <a:lnTo>
                  <a:pt x="4053840" y="160020"/>
                </a:lnTo>
                <a:lnTo>
                  <a:pt x="2872740" y="160020"/>
                </a:lnTo>
                <a:lnTo>
                  <a:pt x="2834640" y="1165860"/>
                </a:lnTo>
                <a:lnTo>
                  <a:pt x="0" y="1165860"/>
                </a:lnTo>
                <a:close/>
              </a:path>
            </a:pathLst>
          </a:custGeom>
          <a:noFill/>
          <a:ln w="12700">
            <a:solidFill>
              <a:srgbClr val="FFC000"/>
            </a:solidFill>
            <a:miter lim="800000"/>
            <a:headEnd/>
            <a:tailEnd/>
          </a:ln>
        </p:spPr>
        <p:txBody>
          <a:bodyPr lIns="0" tIns="0" rIns="0" bIns="0" anchor="ctr"/>
          <a:lstStyle/>
          <a:p>
            <a:endParaRPr lang="en-US"/>
          </a:p>
        </p:txBody>
      </p:sp>
      <p:cxnSp>
        <p:nvCxnSpPr>
          <p:cNvPr id="118791" name="Straight Connector 7"/>
          <p:cNvCxnSpPr>
            <a:cxnSpLocks noChangeShapeType="1"/>
          </p:cNvCxnSpPr>
          <p:nvPr/>
        </p:nvCxnSpPr>
        <p:spPr bwMode="auto">
          <a:xfrm>
            <a:off x="5965825" y="1079500"/>
            <a:ext cx="914400" cy="914400"/>
          </a:xfrm>
          <a:prstGeom prst="line">
            <a:avLst/>
          </a:prstGeom>
          <a:noFill/>
          <a:ln w="9525" algn="ctr">
            <a:noFill/>
            <a:round/>
            <a:headEnd/>
            <a:tailEnd/>
          </a:ln>
        </p:spPr>
      </p:cxnSp>
      <p:cxnSp>
        <p:nvCxnSpPr>
          <p:cNvPr id="118792" name="Straight Connector 9"/>
          <p:cNvCxnSpPr>
            <a:cxnSpLocks noChangeShapeType="1"/>
          </p:cNvCxnSpPr>
          <p:nvPr/>
        </p:nvCxnSpPr>
        <p:spPr bwMode="auto">
          <a:xfrm>
            <a:off x="5965825" y="957263"/>
            <a:ext cx="2117725" cy="1079500"/>
          </a:xfrm>
          <a:prstGeom prst="line">
            <a:avLst/>
          </a:prstGeom>
          <a:noFill/>
          <a:ln w="12700" algn="ctr">
            <a:solidFill>
              <a:srgbClr val="FFC000"/>
            </a:solidFill>
            <a:round/>
            <a:headEnd/>
            <a:tailEnd/>
          </a:ln>
        </p:spPr>
      </p:cxnSp>
      <p:cxnSp>
        <p:nvCxnSpPr>
          <p:cNvPr id="118793" name="Straight Connector 11"/>
          <p:cNvCxnSpPr>
            <a:cxnSpLocks noChangeShapeType="1"/>
            <a:endCxn id="118790" idx="4"/>
          </p:cNvCxnSpPr>
          <p:nvPr/>
        </p:nvCxnSpPr>
        <p:spPr bwMode="auto">
          <a:xfrm flipH="1">
            <a:off x="7954963" y="2036763"/>
            <a:ext cx="128587" cy="1827212"/>
          </a:xfrm>
          <a:prstGeom prst="line">
            <a:avLst/>
          </a:prstGeom>
          <a:noFill/>
          <a:ln w="12700" algn="ctr">
            <a:solidFill>
              <a:srgbClr val="FFC000"/>
            </a:solidFill>
            <a:round/>
            <a:headEnd/>
            <a:tailEnd/>
          </a:ln>
        </p:spPr>
      </p:cxnSp>
      <p:sp>
        <p:nvSpPr>
          <p:cNvPr id="118794" name="TextBox 13"/>
          <p:cNvSpPr txBox="1">
            <a:spLocks noChangeArrowheads="1"/>
          </p:cNvSpPr>
          <p:nvPr/>
        </p:nvSpPr>
        <p:spPr bwMode="auto">
          <a:xfrm>
            <a:off x="398463" y="2855913"/>
            <a:ext cx="1073150" cy="277812"/>
          </a:xfrm>
          <a:prstGeom prst="rect">
            <a:avLst/>
          </a:prstGeom>
          <a:noFill/>
          <a:ln w="9525">
            <a:noFill/>
            <a:miter lim="800000"/>
            <a:headEnd/>
            <a:tailEnd/>
          </a:ln>
        </p:spPr>
        <p:txBody>
          <a:bodyPr>
            <a:spAutoFit/>
          </a:bodyPr>
          <a:lstStyle/>
          <a:p>
            <a:r>
              <a:rPr lang="de-CH" sz="1200">
                <a:solidFill>
                  <a:srgbClr val="FF6600"/>
                </a:solidFill>
              </a:rPr>
              <a:t>User Admin</a:t>
            </a:r>
            <a:endParaRPr lang="en-US" sz="1200">
              <a:solidFill>
                <a:srgbClr val="FF6600"/>
              </a:solidFill>
            </a:endParaRPr>
          </a:p>
        </p:txBody>
      </p:sp>
      <p:sp>
        <p:nvSpPr>
          <p:cNvPr id="118795" name="TextBox 15"/>
          <p:cNvSpPr txBox="1">
            <a:spLocks noChangeArrowheads="1"/>
          </p:cNvSpPr>
          <p:nvPr/>
        </p:nvSpPr>
        <p:spPr bwMode="auto">
          <a:xfrm>
            <a:off x="2405063" y="3198813"/>
            <a:ext cx="1279525" cy="277812"/>
          </a:xfrm>
          <a:prstGeom prst="rect">
            <a:avLst/>
          </a:prstGeom>
          <a:noFill/>
          <a:ln w="9525">
            <a:noFill/>
            <a:miter lim="800000"/>
            <a:headEnd/>
            <a:tailEnd/>
          </a:ln>
        </p:spPr>
        <p:txBody>
          <a:bodyPr>
            <a:spAutoFit/>
          </a:bodyPr>
          <a:lstStyle/>
          <a:p>
            <a:r>
              <a:rPr lang="de-CH" sz="1200">
                <a:solidFill>
                  <a:srgbClr val="FF6600"/>
                </a:solidFill>
              </a:rPr>
              <a:t>Project Admin</a:t>
            </a:r>
            <a:endParaRPr lang="en-US" sz="1200">
              <a:solidFill>
                <a:srgbClr val="FF6600"/>
              </a:solidFill>
            </a:endParaRPr>
          </a:p>
        </p:txBody>
      </p:sp>
      <p:sp>
        <p:nvSpPr>
          <p:cNvPr id="118796" name="TextBox 16"/>
          <p:cNvSpPr txBox="1">
            <a:spLocks noChangeArrowheads="1"/>
          </p:cNvSpPr>
          <p:nvPr/>
        </p:nvSpPr>
        <p:spPr bwMode="auto">
          <a:xfrm>
            <a:off x="6153150" y="5375275"/>
            <a:ext cx="1277938" cy="277813"/>
          </a:xfrm>
          <a:prstGeom prst="rect">
            <a:avLst/>
          </a:prstGeom>
          <a:noFill/>
          <a:ln w="9525">
            <a:noFill/>
            <a:miter lim="800000"/>
            <a:headEnd/>
            <a:tailEnd/>
          </a:ln>
        </p:spPr>
        <p:txBody>
          <a:bodyPr>
            <a:spAutoFit/>
          </a:bodyPr>
          <a:lstStyle/>
          <a:p>
            <a:r>
              <a:rPr lang="de-CH" sz="1200">
                <a:solidFill>
                  <a:srgbClr val="FF6600"/>
                </a:solidFill>
              </a:rPr>
              <a:t>Data Collection</a:t>
            </a:r>
            <a:endParaRPr lang="en-US" sz="1200">
              <a:solidFill>
                <a:srgbClr val="FF6600"/>
              </a:solidFill>
            </a:endParaRPr>
          </a:p>
        </p:txBody>
      </p:sp>
      <p:sp>
        <p:nvSpPr>
          <p:cNvPr id="118797" name="TextBox 17"/>
          <p:cNvSpPr txBox="1">
            <a:spLocks noChangeArrowheads="1"/>
          </p:cNvSpPr>
          <p:nvPr/>
        </p:nvSpPr>
        <p:spPr bwMode="auto">
          <a:xfrm>
            <a:off x="6924675" y="1754188"/>
            <a:ext cx="1279525" cy="276225"/>
          </a:xfrm>
          <a:prstGeom prst="rect">
            <a:avLst/>
          </a:prstGeom>
          <a:noFill/>
          <a:ln w="9525">
            <a:noFill/>
            <a:miter lim="800000"/>
            <a:headEnd/>
            <a:tailEnd/>
          </a:ln>
        </p:spPr>
        <p:txBody>
          <a:bodyPr>
            <a:spAutoFit/>
          </a:bodyPr>
          <a:lstStyle/>
          <a:p>
            <a:r>
              <a:rPr lang="de-CH" sz="1200">
                <a:solidFill>
                  <a:srgbClr val="FF6600"/>
                </a:solidFill>
              </a:rPr>
              <a:t>Finance</a:t>
            </a:r>
            <a:endParaRPr lang="en-US" sz="1200">
              <a:solidFill>
                <a:srgbClr val="FF6600"/>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Title 18"/>
          <p:cNvSpPr>
            <a:spLocks noGrp="1"/>
          </p:cNvSpPr>
          <p:nvPr>
            <p:ph type="title" idx="4294967295"/>
          </p:nvPr>
        </p:nvSpPr>
        <p:spPr>
          <a:xfrm>
            <a:off x="274638" y="487363"/>
            <a:ext cx="8686800" cy="701675"/>
          </a:xfrm>
        </p:spPr>
        <p:txBody>
          <a:bodyPr/>
          <a:lstStyle/>
          <a:p>
            <a:pPr eaLnBrk="1" hangingPunct="1"/>
            <a:r>
              <a:rPr lang="en-US" smtClean="0"/>
              <a:t>Executive Summary</a:t>
            </a:r>
          </a:p>
        </p:txBody>
      </p:sp>
      <p:sp>
        <p:nvSpPr>
          <p:cNvPr id="43010" name="Slide Number Placeholder 1"/>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4BE31609-439B-4316-BBFB-6105353A1FD5}" type="slidenum">
              <a:rPr lang="en-US" sz="800"/>
              <a:pPr/>
              <a:t>4</a:t>
            </a:fld>
            <a:endParaRPr lang="en-US" sz="800"/>
          </a:p>
        </p:txBody>
      </p:sp>
      <p:sp>
        <p:nvSpPr>
          <p:cNvPr id="43011" name="Text Box 3"/>
          <p:cNvSpPr txBox="1">
            <a:spLocks noChangeArrowheads="1"/>
          </p:cNvSpPr>
          <p:nvPr/>
        </p:nvSpPr>
        <p:spPr bwMode="auto">
          <a:xfrm>
            <a:off x="228600" y="1249363"/>
            <a:ext cx="8686800" cy="517525"/>
          </a:xfrm>
          <a:prstGeom prst="rect">
            <a:avLst/>
          </a:prstGeom>
          <a:noFill/>
          <a:ln w="9525">
            <a:solidFill>
              <a:schemeClr val="accent1"/>
            </a:solidFill>
            <a:miter lim="800000"/>
            <a:headEnd/>
            <a:tailEnd/>
          </a:ln>
        </p:spPr>
        <p:txBody>
          <a:bodyPr>
            <a:spAutoFit/>
          </a:bodyPr>
          <a:lstStyle/>
          <a:p>
            <a:pPr algn="ctr">
              <a:spcBef>
                <a:spcPct val="20000"/>
              </a:spcBef>
              <a:buClr>
                <a:schemeClr val="tx1"/>
              </a:buClr>
              <a:buFont typeface="Wingdings" pitchFamily="2" charset="2"/>
              <a:buNone/>
            </a:pPr>
            <a:endParaRPr lang="en-US" sz="800"/>
          </a:p>
          <a:p>
            <a:pPr algn="ctr">
              <a:spcBef>
                <a:spcPct val="20000"/>
              </a:spcBef>
              <a:buClr>
                <a:schemeClr val="tx1"/>
              </a:buClr>
              <a:buFont typeface="Wingdings" pitchFamily="2" charset="2"/>
              <a:buNone/>
            </a:pPr>
            <a:r>
              <a:rPr lang="en-US" sz="1600"/>
              <a:t>Develop strategic IT recommendations to achieve operational efficiency and sustainability </a:t>
            </a:r>
          </a:p>
        </p:txBody>
      </p:sp>
      <p:sp>
        <p:nvSpPr>
          <p:cNvPr id="43012" name="Rectangle 4"/>
          <p:cNvSpPr>
            <a:spLocks noChangeArrowheads="1"/>
          </p:cNvSpPr>
          <p:nvPr/>
        </p:nvSpPr>
        <p:spPr bwMode="auto">
          <a:xfrm>
            <a:off x="3810000" y="1065213"/>
            <a:ext cx="1295400" cy="336550"/>
          </a:xfrm>
          <a:prstGeom prst="rect">
            <a:avLst/>
          </a:prstGeom>
          <a:solidFill>
            <a:schemeClr val="bg1"/>
          </a:solidFill>
          <a:ln w="9525">
            <a:noFill/>
            <a:miter lim="800000"/>
            <a:headEnd/>
            <a:tailEnd/>
          </a:ln>
        </p:spPr>
        <p:txBody>
          <a:bodyPr lIns="91436" tIns="45716" rIns="91436" bIns="45716" anchor="ctr">
            <a:spAutoFit/>
          </a:bodyPr>
          <a:lstStyle/>
          <a:p>
            <a:pPr algn="ctr"/>
            <a:r>
              <a:rPr lang="de-DE" sz="1600" b="1">
                <a:solidFill>
                  <a:srgbClr val="0070C0"/>
                </a:solidFill>
              </a:rPr>
              <a:t>Our Goal</a:t>
            </a:r>
          </a:p>
        </p:txBody>
      </p:sp>
      <p:sp>
        <p:nvSpPr>
          <p:cNvPr id="43013" name="Rectangle 5"/>
          <p:cNvSpPr>
            <a:spLocks noChangeArrowheads="1"/>
          </p:cNvSpPr>
          <p:nvPr/>
        </p:nvSpPr>
        <p:spPr bwMode="auto">
          <a:xfrm>
            <a:off x="228600" y="2276475"/>
            <a:ext cx="4343400" cy="4445000"/>
          </a:xfrm>
          <a:prstGeom prst="rect">
            <a:avLst/>
          </a:prstGeom>
          <a:noFill/>
          <a:ln w="9525" algn="ctr">
            <a:solidFill>
              <a:srgbClr val="9999FF"/>
            </a:solidFill>
            <a:miter lim="800000"/>
            <a:headEnd/>
            <a:tailEnd/>
          </a:ln>
        </p:spPr>
        <p:txBody>
          <a:bodyPr lIns="91436" tIns="45716" rIns="91436" bIns="45716"/>
          <a:lstStyle/>
          <a:p>
            <a:pPr marL="180975" indent="-180975">
              <a:lnSpc>
                <a:spcPct val="125000"/>
              </a:lnSpc>
              <a:spcBef>
                <a:spcPct val="25000"/>
              </a:spcBef>
              <a:buClr>
                <a:srgbClr val="9999FF"/>
              </a:buClr>
              <a:buFont typeface="Wingdings" pitchFamily="2" charset="2"/>
              <a:buChar char="§"/>
            </a:pPr>
            <a:endParaRPr lang="en-US" sz="1400"/>
          </a:p>
          <a:p>
            <a:pPr marL="180975" indent="-180975">
              <a:lnSpc>
                <a:spcPct val="125000"/>
              </a:lnSpc>
              <a:spcBef>
                <a:spcPct val="25000"/>
              </a:spcBef>
              <a:buClr>
                <a:srgbClr val="9999FF"/>
              </a:buClr>
              <a:buFont typeface="Wingdings" pitchFamily="2" charset="2"/>
              <a:buChar char="§"/>
            </a:pPr>
            <a:r>
              <a:rPr lang="en-US" sz="1400"/>
              <a:t>Improve information and management systems between headquarters and branch offices</a:t>
            </a:r>
          </a:p>
          <a:p>
            <a:pPr marL="180975" indent="-180975">
              <a:spcBef>
                <a:spcPts val="1800"/>
              </a:spcBef>
              <a:buClr>
                <a:srgbClr val="9999FF"/>
              </a:buClr>
              <a:buFont typeface="Wingdings" pitchFamily="2" charset="2"/>
              <a:buChar char="§"/>
            </a:pPr>
            <a:r>
              <a:rPr lang="en-US" sz="1400"/>
              <a:t>Strengthen financial management and linkages to program monitoring</a:t>
            </a:r>
          </a:p>
          <a:p>
            <a:pPr marL="180975" indent="-180975">
              <a:spcBef>
                <a:spcPts val="1800"/>
              </a:spcBef>
              <a:buClr>
                <a:srgbClr val="9999FF"/>
              </a:buClr>
              <a:buFont typeface="Wingdings" pitchFamily="2" charset="2"/>
              <a:buChar char="§"/>
            </a:pPr>
            <a:r>
              <a:rPr lang="en-US" sz="1400"/>
              <a:t>Assess and integrate social media and new technology tools to increase national outreach</a:t>
            </a:r>
          </a:p>
          <a:p>
            <a:pPr marL="180975" indent="-180975">
              <a:spcBef>
                <a:spcPts val="1800"/>
              </a:spcBef>
              <a:buClr>
                <a:srgbClr val="9999FF"/>
              </a:buClr>
              <a:buFont typeface="Wingdings" pitchFamily="2" charset="2"/>
              <a:buChar char="§"/>
            </a:pPr>
            <a:r>
              <a:rPr lang="en-US" sz="1400"/>
              <a:t>Continue to scale operations nationally through enhanced organizational development</a:t>
            </a:r>
          </a:p>
          <a:p>
            <a:pPr marL="180975" indent="-180975">
              <a:spcBef>
                <a:spcPts val="1800"/>
              </a:spcBef>
              <a:buClr>
                <a:srgbClr val="9999FF"/>
              </a:buClr>
              <a:buFont typeface="Wingdings" pitchFamily="2" charset="2"/>
              <a:buChar char="§"/>
            </a:pPr>
            <a:r>
              <a:rPr lang="en-US" sz="1400"/>
              <a:t>Continue to position ALCS as a HIV/AIDS Centre of Excellence in Morocco and the region</a:t>
            </a:r>
          </a:p>
          <a:p>
            <a:pPr marL="180975" indent="-180975">
              <a:spcBef>
                <a:spcPts val="1800"/>
              </a:spcBef>
              <a:buClr>
                <a:srgbClr val="9999FF"/>
              </a:buClr>
              <a:buFont typeface="Wingdings" pitchFamily="2" charset="2"/>
              <a:buChar char="§"/>
            </a:pPr>
            <a:endParaRPr lang="en-US" sz="1400"/>
          </a:p>
          <a:p>
            <a:pPr marL="180975" indent="-180975">
              <a:spcBef>
                <a:spcPts val="1800"/>
              </a:spcBef>
              <a:buClr>
                <a:srgbClr val="9999FF"/>
              </a:buClr>
              <a:buFont typeface="Wingdings" pitchFamily="2" charset="2"/>
              <a:buNone/>
            </a:pPr>
            <a:endParaRPr lang="en-US" sz="1400"/>
          </a:p>
        </p:txBody>
      </p:sp>
      <p:sp>
        <p:nvSpPr>
          <p:cNvPr id="43014" name="Rectangle 6"/>
          <p:cNvSpPr>
            <a:spLocks noChangeArrowheads="1"/>
          </p:cNvSpPr>
          <p:nvPr/>
        </p:nvSpPr>
        <p:spPr bwMode="auto">
          <a:xfrm>
            <a:off x="1092200" y="2103438"/>
            <a:ext cx="2625725" cy="336550"/>
          </a:xfrm>
          <a:prstGeom prst="rect">
            <a:avLst/>
          </a:prstGeom>
          <a:solidFill>
            <a:schemeClr val="bg1"/>
          </a:solidFill>
          <a:ln w="9525">
            <a:noFill/>
            <a:miter lim="800000"/>
            <a:headEnd/>
            <a:tailEnd/>
          </a:ln>
        </p:spPr>
        <p:txBody>
          <a:bodyPr wrap="none" lIns="91436" tIns="45716" rIns="91436" bIns="45716" anchor="ctr">
            <a:spAutoFit/>
          </a:bodyPr>
          <a:lstStyle/>
          <a:p>
            <a:pPr algn="ctr"/>
            <a:r>
              <a:rPr lang="de-DE" sz="1600" b="1">
                <a:solidFill>
                  <a:srgbClr val="0070C0"/>
                </a:solidFill>
              </a:rPr>
              <a:t>Strategic Plan Objectives</a:t>
            </a:r>
          </a:p>
        </p:txBody>
      </p:sp>
      <p:sp>
        <p:nvSpPr>
          <p:cNvPr id="43015" name="Rectangle 7"/>
          <p:cNvSpPr>
            <a:spLocks noChangeArrowheads="1"/>
          </p:cNvSpPr>
          <p:nvPr/>
        </p:nvSpPr>
        <p:spPr bwMode="auto">
          <a:xfrm>
            <a:off x="4799013" y="2336800"/>
            <a:ext cx="4038600" cy="4422775"/>
          </a:xfrm>
          <a:prstGeom prst="rect">
            <a:avLst/>
          </a:prstGeom>
          <a:noFill/>
          <a:ln w="9525" algn="ctr">
            <a:solidFill>
              <a:srgbClr val="9999FF"/>
            </a:solidFill>
            <a:miter lim="800000"/>
            <a:headEnd/>
            <a:tailEnd/>
          </a:ln>
        </p:spPr>
        <p:txBody>
          <a:bodyPr lIns="91436" tIns="45716" rIns="91436" bIns="45716"/>
          <a:lstStyle/>
          <a:p>
            <a:pPr marL="265113" indent="-265113">
              <a:spcBef>
                <a:spcPct val="30000"/>
              </a:spcBef>
              <a:buClr>
                <a:srgbClr val="9999FF"/>
              </a:buClr>
              <a:buFont typeface="Wingdings" pitchFamily="2" charset="2"/>
              <a:buNone/>
            </a:pPr>
            <a:endParaRPr lang="en-US" sz="1300" b="1">
              <a:latin typeface="Helvetica" pitchFamily="34" charset="0"/>
            </a:endParaRPr>
          </a:p>
          <a:p>
            <a:pPr marL="265113" indent="-265113">
              <a:spcBef>
                <a:spcPct val="30000"/>
              </a:spcBef>
              <a:buClr>
                <a:srgbClr val="9999FF"/>
              </a:buClr>
              <a:buFont typeface="Wingdings" pitchFamily="2" charset="2"/>
              <a:buChar char="§"/>
            </a:pPr>
            <a:r>
              <a:rPr lang="en-US" sz="1300" b="1">
                <a:latin typeface="Helvetica" pitchFamily="34" charset="0"/>
              </a:rPr>
              <a:t>IT Assessment</a:t>
            </a:r>
            <a:r>
              <a:rPr lang="en-US" sz="1300">
                <a:latin typeface="Helvetica" pitchFamily="34" charset="0"/>
              </a:rPr>
              <a:t>: Stabilize IT capability through strategic outsourcing</a:t>
            </a:r>
          </a:p>
          <a:p>
            <a:pPr marL="265113" indent="-265113">
              <a:spcBef>
                <a:spcPct val="30000"/>
              </a:spcBef>
              <a:buClr>
                <a:srgbClr val="9999FF"/>
              </a:buClr>
              <a:buFont typeface="Wingdings" pitchFamily="2" charset="2"/>
              <a:buChar char="§"/>
            </a:pPr>
            <a:r>
              <a:rPr lang="en-US" sz="1300" b="1">
                <a:latin typeface="Helvetica" pitchFamily="34" charset="0"/>
              </a:rPr>
              <a:t>Financial Management</a:t>
            </a:r>
            <a:r>
              <a:rPr lang="en-US" sz="1300">
                <a:latin typeface="Helvetica" pitchFamily="34" charset="0"/>
              </a:rPr>
              <a:t>: Institute real-time information gathering for improved planning, budgeting and forecasting accountability</a:t>
            </a:r>
            <a:endParaRPr lang="de-DE" sz="1300">
              <a:latin typeface="Helvetica" pitchFamily="34" charset="0"/>
            </a:endParaRPr>
          </a:p>
          <a:p>
            <a:pPr marL="265113" indent="-265113">
              <a:spcBef>
                <a:spcPct val="30000"/>
              </a:spcBef>
              <a:buClr>
                <a:srgbClr val="9999FF"/>
              </a:buClr>
              <a:buFont typeface="Wingdings" pitchFamily="2" charset="2"/>
              <a:buChar char="§"/>
            </a:pPr>
            <a:r>
              <a:rPr lang="en-US" sz="1300" b="1">
                <a:latin typeface="Helvetica" pitchFamily="34" charset="0"/>
              </a:rPr>
              <a:t>Operational Metrics: </a:t>
            </a:r>
            <a:r>
              <a:rPr lang="en-US" sz="1300">
                <a:latin typeface="Helvetica" pitchFamily="34" charset="0"/>
              </a:rPr>
              <a:t>Centralize information collection to improve data quality and achieve national targets for HIV/AIDS prevention</a:t>
            </a:r>
            <a:endParaRPr lang="en-US" sz="1300" b="1">
              <a:latin typeface="Helvetica" pitchFamily="34" charset="0"/>
            </a:endParaRPr>
          </a:p>
          <a:p>
            <a:pPr marL="265113" indent="-265113">
              <a:spcBef>
                <a:spcPct val="30000"/>
              </a:spcBef>
              <a:buClr>
                <a:srgbClr val="9999FF"/>
              </a:buClr>
              <a:buFont typeface="Wingdings" pitchFamily="2" charset="2"/>
              <a:buChar char="§"/>
            </a:pPr>
            <a:r>
              <a:rPr lang="en-US" sz="1300" b="1">
                <a:latin typeface="Helvetica" pitchFamily="34" charset="0"/>
              </a:rPr>
              <a:t>Communications: </a:t>
            </a:r>
            <a:r>
              <a:rPr lang="en-US" sz="1300">
                <a:latin typeface="Helvetica" pitchFamily="34" charset="0"/>
              </a:rPr>
              <a:t>Leverage online collaboration tools to strengthen internal communications and information sharing </a:t>
            </a:r>
          </a:p>
          <a:p>
            <a:pPr marL="265113" indent="-265113">
              <a:spcBef>
                <a:spcPct val="30000"/>
              </a:spcBef>
              <a:buClr>
                <a:srgbClr val="9999FF"/>
              </a:buClr>
              <a:buFont typeface="Wingdings" pitchFamily="2" charset="2"/>
              <a:buChar char="§"/>
            </a:pPr>
            <a:r>
              <a:rPr lang="en-US" sz="1300" b="1">
                <a:latin typeface="Helvetica" pitchFamily="34" charset="0"/>
              </a:rPr>
              <a:t>Archiving/Backup: </a:t>
            </a:r>
            <a:r>
              <a:rPr lang="en-US" sz="1300">
                <a:latin typeface="Helvetica" pitchFamily="34" charset="0"/>
              </a:rPr>
              <a:t>Institute a plan to support continuity of operations and information security</a:t>
            </a:r>
          </a:p>
          <a:p>
            <a:pPr marL="265113" indent="-265113">
              <a:spcBef>
                <a:spcPct val="30000"/>
              </a:spcBef>
              <a:buClr>
                <a:srgbClr val="9999FF"/>
              </a:buClr>
              <a:buFont typeface="Wingdings" pitchFamily="2" charset="2"/>
              <a:buChar char="§"/>
            </a:pPr>
            <a:r>
              <a:rPr lang="en-US" sz="1300" b="1">
                <a:latin typeface="Helvetica" pitchFamily="34" charset="0"/>
              </a:rPr>
              <a:t>Fundraising:</a:t>
            </a:r>
            <a:r>
              <a:rPr lang="en-US" sz="1300">
                <a:latin typeface="Helvetica" pitchFamily="34" charset="0"/>
              </a:rPr>
              <a:t> Optimize the donor database to effectively address potential funding sources</a:t>
            </a:r>
          </a:p>
          <a:p>
            <a:pPr marL="265113" indent="-265113">
              <a:spcBef>
                <a:spcPct val="30000"/>
              </a:spcBef>
              <a:buClr>
                <a:srgbClr val="9999FF"/>
              </a:buClr>
              <a:buFont typeface="Wingdings" pitchFamily="2" charset="2"/>
              <a:buChar char="§"/>
            </a:pPr>
            <a:r>
              <a:rPr lang="en-US" sz="1300" b="1">
                <a:latin typeface="Helvetica" pitchFamily="34" charset="0"/>
              </a:rPr>
              <a:t>Mobile: </a:t>
            </a:r>
            <a:r>
              <a:rPr lang="en-US" sz="1300">
                <a:latin typeface="Helvetica" pitchFamily="34" charset="0"/>
              </a:rPr>
              <a:t>Create a customized application based on existing HIV/AIDS frameworks</a:t>
            </a:r>
          </a:p>
          <a:p>
            <a:pPr marL="265113" indent="-265113">
              <a:spcBef>
                <a:spcPct val="30000"/>
              </a:spcBef>
              <a:buClr>
                <a:srgbClr val="9999FF"/>
              </a:buClr>
              <a:buFont typeface="Wingdings" pitchFamily="2" charset="2"/>
              <a:buChar char="§"/>
            </a:pPr>
            <a:endParaRPr lang="en-US" sz="1300" b="1">
              <a:latin typeface="Helvetica" pitchFamily="34" charset="0"/>
            </a:endParaRPr>
          </a:p>
          <a:p>
            <a:pPr marL="265113" indent="-265113">
              <a:spcBef>
                <a:spcPct val="30000"/>
              </a:spcBef>
              <a:buClr>
                <a:srgbClr val="9999FF"/>
              </a:buClr>
              <a:buFont typeface="Wingdings" pitchFamily="2" charset="2"/>
              <a:buChar char="§"/>
            </a:pPr>
            <a:endParaRPr lang="de-DE" sz="1300">
              <a:latin typeface="Helvetica" pitchFamily="34" charset="0"/>
            </a:endParaRPr>
          </a:p>
        </p:txBody>
      </p:sp>
      <p:sp>
        <p:nvSpPr>
          <p:cNvPr id="43016" name="Rectangle 8"/>
          <p:cNvSpPr>
            <a:spLocks noChangeArrowheads="1"/>
          </p:cNvSpPr>
          <p:nvPr/>
        </p:nvSpPr>
        <p:spPr bwMode="auto">
          <a:xfrm>
            <a:off x="5649913" y="2103438"/>
            <a:ext cx="2428875" cy="336550"/>
          </a:xfrm>
          <a:prstGeom prst="rect">
            <a:avLst/>
          </a:prstGeom>
          <a:solidFill>
            <a:schemeClr val="bg1"/>
          </a:solidFill>
          <a:ln w="9525">
            <a:noFill/>
            <a:miter lim="800000"/>
            <a:headEnd/>
            <a:tailEnd/>
          </a:ln>
        </p:spPr>
        <p:txBody>
          <a:bodyPr wrap="none" lIns="91436" tIns="45716" rIns="91436" bIns="45716" anchor="ctr">
            <a:spAutoFit/>
          </a:bodyPr>
          <a:lstStyle/>
          <a:p>
            <a:pPr algn="ctr"/>
            <a:r>
              <a:rPr lang="de-DE" sz="1600" b="1">
                <a:solidFill>
                  <a:srgbClr val="0070C0"/>
                </a:solidFill>
              </a:rPr>
              <a:t>Key Recommendations</a:t>
            </a:r>
          </a:p>
        </p:txBody>
      </p:sp>
      <p:sp>
        <p:nvSpPr>
          <p:cNvPr id="43017" name="AutoShape 9"/>
          <p:cNvSpPr>
            <a:spLocks noChangeArrowheads="1"/>
          </p:cNvSpPr>
          <p:nvPr/>
        </p:nvSpPr>
        <p:spPr bwMode="auto">
          <a:xfrm flipV="1">
            <a:off x="3889375" y="1985963"/>
            <a:ext cx="1819275" cy="312737"/>
          </a:xfrm>
          <a:prstGeom prst="curvedUpArrow">
            <a:avLst>
              <a:gd name="adj1" fmla="val 116345"/>
              <a:gd name="adj2" fmla="val 232691"/>
              <a:gd name="adj3" fmla="val 33333"/>
            </a:avLst>
          </a:prstGeom>
          <a:gradFill rotWithShape="1">
            <a:gsLst>
              <a:gs pos="0">
                <a:srgbClr val="CCCCFF"/>
              </a:gs>
              <a:gs pos="100000">
                <a:srgbClr val="9999FF"/>
              </a:gs>
            </a:gsLst>
            <a:lin ang="5400000" scaled="1"/>
          </a:gradFill>
          <a:ln w="9525">
            <a:noFill/>
            <a:miter lim="800000"/>
            <a:headEnd/>
            <a:tailEnd/>
          </a:ln>
        </p:spPr>
        <p:txBody>
          <a:bodyPr rot="10800000" wrap="none" anchor="ctr"/>
          <a:lstStyle/>
          <a:p>
            <a:endParaRPr lang="en-US"/>
          </a:p>
        </p:txBody>
      </p:sp>
      <p:sp>
        <p:nvSpPr>
          <p:cNvPr id="43018" name="Oval 7"/>
          <p:cNvSpPr>
            <a:spLocks noChangeAspect="1" noChangeArrowheads="1"/>
          </p:cNvSpPr>
          <p:nvPr/>
        </p:nvSpPr>
        <p:spPr bwMode="auto">
          <a:xfrm>
            <a:off x="4852988" y="5959475"/>
            <a:ext cx="252412" cy="252413"/>
          </a:xfrm>
          <a:prstGeom prst="ellipse">
            <a:avLst/>
          </a:prstGeom>
          <a:solidFill>
            <a:srgbClr val="9999FF"/>
          </a:solidFill>
          <a:ln w="38100">
            <a:solidFill>
              <a:schemeClr val="bg1"/>
            </a:solidFill>
            <a:round/>
            <a:headEnd/>
            <a:tailEnd/>
          </a:ln>
        </p:spPr>
        <p:txBody>
          <a:bodyPr wrap="none" lIns="91436" tIns="45716" rIns="91436" bIns="45716" anchor="ctr"/>
          <a:lstStyle/>
          <a:p>
            <a:pPr algn="ctr"/>
            <a:r>
              <a:rPr lang="en-US" sz="1200">
                <a:solidFill>
                  <a:schemeClr val="bg1"/>
                </a:solidFill>
              </a:rPr>
              <a:t>7</a:t>
            </a:r>
          </a:p>
        </p:txBody>
      </p:sp>
      <p:sp>
        <p:nvSpPr>
          <p:cNvPr id="43019" name="Oval 7"/>
          <p:cNvSpPr>
            <a:spLocks noChangeAspect="1" noChangeArrowheads="1"/>
          </p:cNvSpPr>
          <p:nvPr/>
        </p:nvSpPr>
        <p:spPr bwMode="auto">
          <a:xfrm>
            <a:off x="4852988" y="5003800"/>
            <a:ext cx="252412" cy="252413"/>
          </a:xfrm>
          <a:prstGeom prst="ellipse">
            <a:avLst/>
          </a:prstGeom>
          <a:solidFill>
            <a:srgbClr val="9999FF"/>
          </a:solidFill>
          <a:ln w="38100">
            <a:solidFill>
              <a:schemeClr val="bg1"/>
            </a:solidFill>
            <a:round/>
            <a:headEnd/>
            <a:tailEnd/>
          </a:ln>
        </p:spPr>
        <p:txBody>
          <a:bodyPr wrap="none" lIns="91436" tIns="45716" rIns="91436" bIns="45716" anchor="ctr"/>
          <a:lstStyle/>
          <a:p>
            <a:pPr algn="ctr"/>
            <a:r>
              <a:rPr lang="en-US" sz="1200">
                <a:solidFill>
                  <a:schemeClr val="bg1"/>
                </a:solidFill>
              </a:rPr>
              <a:t>5</a:t>
            </a:r>
          </a:p>
        </p:txBody>
      </p:sp>
      <p:sp>
        <p:nvSpPr>
          <p:cNvPr id="43020" name="Oval 7"/>
          <p:cNvSpPr>
            <a:spLocks noChangeAspect="1" noChangeArrowheads="1"/>
          </p:cNvSpPr>
          <p:nvPr/>
        </p:nvSpPr>
        <p:spPr bwMode="auto">
          <a:xfrm>
            <a:off x="4852988" y="4295775"/>
            <a:ext cx="252412" cy="252413"/>
          </a:xfrm>
          <a:prstGeom prst="ellipse">
            <a:avLst/>
          </a:prstGeom>
          <a:solidFill>
            <a:srgbClr val="9999FF"/>
          </a:solidFill>
          <a:ln w="38100">
            <a:solidFill>
              <a:schemeClr val="bg1"/>
            </a:solidFill>
            <a:round/>
            <a:headEnd/>
            <a:tailEnd/>
          </a:ln>
        </p:spPr>
        <p:txBody>
          <a:bodyPr wrap="none" lIns="91436" tIns="45716" rIns="91436" bIns="45716" anchor="ctr"/>
          <a:lstStyle/>
          <a:p>
            <a:pPr algn="ctr"/>
            <a:r>
              <a:rPr lang="en-US" sz="1200">
                <a:solidFill>
                  <a:schemeClr val="bg1"/>
                </a:solidFill>
              </a:rPr>
              <a:t>4</a:t>
            </a:r>
          </a:p>
        </p:txBody>
      </p:sp>
      <p:sp>
        <p:nvSpPr>
          <p:cNvPr id="43021" name="Oval 7"/>
          <p:cNvSpPr>
            <a:spLocks noChangeAspect="1" noChangeArrowheads="1"/>
          </p:cNvSpPr>
          <p:nvPr/>
        </p:nvSpPr>
        <p:spPr bwMode="auto">
          <a:xfrm>
            <a:off x="4852988" y="3732213"/>
            <a:ext cx="252412" cy="252412"/>
          </a:xfrm>
          <a:prstGeom prst="ellipse">
            <a:avLst/>
          </a:prstGeom>
          <a:solidFill>
            <a:srgbClr val="9999FF"/>
          </a:solidFill>
          <a:ln w="38100">
            <a:solidFill>
              <a:schemeClr val="bg1"/>
            </a:solidFill>
            <a:round/>
            <a:headEnd/>
            <a:tailEnd/>
          </a:ln>
        </p:spPr>
        <p:txBody>
          <a:bodyPr wrap="none" lIns="91436" tIns="45716" rIns="91436" bIns="45716" anchor="ctr"/>
          <a:lstStyle/>
          <a:p>
            <a:pPr algn="ctr"/>
            <a:r>
              <a:rPr lang="en-US" sz="1200">
                <a:solidFill>
                  <a:schemeClr val="bg1"/>
                </a:solidFill>
              </a:rPr>
              <a:t>3</a:t>
            </a:r>
          </a:p>
        </p:txBody>
      </p:sp>
      <p:sp>
        <p:nvSpPr>
          <p:cNvPr id="43022" name="Oval 7"/>
          <p:cNvSpPr>
            <a:spLocks noChangeAspect="1" noChangeArrowheads="1"/>
          </p:cNvSpPr>
          <p:nvPr/>
        </p:nvSpPr>
        <p:spPr bwMode="auto">
          <a:xfrm>
            <a:off x="4852988" y="3024188"/>
            <a:ext cx="252412" cy="252412"/>
          </a:xfrm>
          <a:prstGeom prst="ellipse">
            <a:avLst/>
          </a:prstGeom>
          <a:solidFill>
            <a:srgbClr val="9999FF"/>
          </a:solidFill>
          <a:ln w="38100">
            <a:solidFill>
              <a:schemeClr val="bg1"/>
            </a:solidFill>
            <a:round/>
            <a:headEnd/>
            <a:tailEnd/>
          </a:ln>
        </p:spPr>
        <p:txBody>
          <a:bodyPr wrap="none" lIns="91436" tIns="45716" rIns="91436" bIns="45716" anchor="ctr"/>
          <a:lstStyle/>
          <a:p>
            <a:pPr algn="ctr"/>
            <a:r>
              <a:rPr lang="en-US" sz="1200">
                <a:solidFill>
                  <a:schemeClr val="bg1"/>
                </a:solidFill>
              </a:rPr>
              <a:t>2</a:t>
            </a:r>
          </a:p>
        </p:txBody>
      </p:sp>
      <p:sp>
        <p:nvSpPr>
          <p:cNvPr id="43023" name="Oval 7"/>
          <p:cNvSpPr>
            <a:spLocks noChangeAspect="1" noChangeArrowheads="1"/>
          </p:cNvSpPr>
          <p:nvPr/>
        </p:nvSpPr>
        <p:spPr bwMode="auto">
          <a:xfrm>
            <a:off x="4852988" y="2646363"/>
            <a:ext cx="252412" cy="252412"/>
          </a:xfrm>
          <a:prstGeom prst="ellipse">
            <a:avLst/>
          </a:prstGeom>
          <a:solidFill>
            <a:srgbClr val="9999FF"/>
          </a:solidFill>
          <a:ln w="38100">
            <a:solidFill>
              <a:schemeClr val="bg1"/>
            </a:solidFill>
            <a:round/>
            <a:headEnd/>
            <a:tailEnd/>
          </a:ln>
        </p:spPr>
        <p:txBody>
          <a:bodyPr wrap="none" lIns="91436" tIns="45716" rIns="91436" bIns="45716" anchor="ctr"/>
          <a:lstStyle/>
          <a:p>
            <a:pPr algn="ctr"/>
            <a:r>
              <a:rPr lang="en-US" sz="1200">
                <a:solidFill>
                  <a:schemeClr val="bg1"/>
                </a:solidFill>
              </a:rPr>
              <a:t>1</a:t>
            </a:r>
          </a:p>
        </p:txBody>
      </p:sp>
      <p:sp>
        <p:nvSpPr>
          <p:cNvPr id="43024" name="Oval 7"/>
          <p:cNvSpPr>
            <a:spLocks noChangeAspect="1" noChangeArrowheads="1"/>
          </p:cNvSpPr>
          <p:nvPr/>
        </p:nvSpPr>
        <p:spPr bwMode="auto">
          <a:xfrm>
            <a:off x="4852988" y="5534025"/>
            <a:ext cx="252412" cy="252413"/>
          </a:xfrm>
          <a:prstGeom prst="ellipse">
            <a:avLst/>
          </a:prstGeom>
          <a:solidFill>
            <a:srgbClr val="9999FF"/>
          </a:solidFill>
          <a:ln w="38100">
            <a:solidFill>
              <a:schemeClr val="bg1"/>
            </a:solidFill>
            <a:round/>
            <a:headEnd/>
            <a:tailEnd/>
          </a:ln>
        </p:spPr>
        <p:txBody>
          <a:bodyPr wrap="none" lIns="91436" tIns="45716" rIns="91436" bIns="45716" anchor="ctr"/>
          <a:lstStyle/>
          <a:p>
            <a:pPr algn="ctr"/>
            <a:r>
              <a:rPr lang="en-US" sz="1200">
                <a:solidFill>
                  <a:schemeClr val="bg1"/>
                </a:solidFill>
              </a:rPr>
              <a:t>6</a:t>
            </a: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9810" name="Picture 2"/>
          <p:cNvPicPr>
            <a:picLocks noChangeAspect="1"/>
          </p:cNvPicPr>
          <p:nvPr/>
        </p:nvPicPr>
        <p:blipFill>
          <a:blip r:embed="rId2"/>
          <a:srcRect/>
          <a:stretch>
            <a:fillRect/>
          </a:stretch>
        </p:blipFill>
        <p:spPr bwMode="auto">
          <a:xfrm>
            <a:off x="212725" y="884238"/>
            <a:ext cx="8737600" cy="5810250"/>
          </a:xfrm>
          <a:prstGeom prst="rect">
            <a:avLst/>
          </a:prstGeom>
          <a:noFill/>
          <a:ln w="9525">
            <a:noFill/>
            <a:miter lim="800000"/>
            <a:headEnd/>
            <a:tailEnd/>
          </a:ln>
        </p:spPr>
      </p:pic>
      <p:sp>
        <p:nvSpPr>
          <p:cNvPr id="119811" name="Rectangle 2"/>
          <p:cNvSpPr>
            <a:spLocks noGrp="1" noChangeArrowheads="1"/>
          </p:cNvSpPr>
          <p:nvPr>
            <p:ph type="title" idx="4294967295"/>
          </p:nvPr>
        </p:nvSpPr>
        <p:spPr/>
        <p:txBody>
          <a:bodyPr/>
          <a:lstStyle/>
          <a:p>
            <a:r>
              <a:rPr lang="en-US" smtClean="0"/>
              <a:t>Data Model – Operational Data Extract</a:t>
            </a:r>
          </a:p>
        </p:txBody>
      </p:sp>
      <p:sp>
        <p:nvSpPr>
          <p:cNvPr id="119812" name="Rectangle 3"/>
          <p:cNvSpPr>
            <a:spLocks noChangeArrowheads="1"/>
          </p:cNvSpPr>
          <p:nvPr/>
        </p:nvSpPr>
        <p:spPr bwMode="gray">
          <a:xfrm>
            <a:off x="7832725" y="593725"/>
            <a:ext cx="1230313" cy="952500"/>
          </a:xfrm>
          <a:prstGeom prst="rect">
            <a:avLst/>
          </a:prstGeom>
          <a:solidFill>
            <a:schemeClr val="bg1"/>
          </a:solidFill>
          <a:ln w="9525">
            <a:solidFill>
              <a:schemeClr val="bg1"/>
            </a:solidFill>
            <a:miter lim="800000"/>
            <a:headEnd/>
            <a:tailEnd/>
          </a:ln>
        </p:spPr>
        <p:txBody>
          <a:bodyPr lIns="0" tIns="0" rIns="0" bIns="0" anchor="ctr"/>
          <a:lstStyle/>
          <a:p>
            <a:pPr marL="225425" indent="-225425" algn="ctr">
              <a:buClr>
                <a:srgbClr val="7889FB"/>
              </a:buClr>
              <a:buFont typeface="Wingdings" pitchFamily="2" charset="2"/>
              <a:buChar char="§"/>
            </a:pPr>
            <a:endParaRPr lang="en-US" sz="1300"/>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Rectangle 2"/>
          <p:cNvSpPr>
            <a:spLocks noGrp="1" noChangeArrowheads="1"/>
          </p:cNvSpPr>
          <p:nvPr>
            <p:ph type="title" idx="4294967295"/>
          </p:nvPr>
        </p:nvSpPr>
        <p:spPr/>
        <p:txBody>
          <a:bodyPr/>
          <a:lstStyle/>
          <a:p>
            <a:r>
              <a:rPr lang="en-US" smtClean="0"/>
              <a:t>Operational Data Collection: Recommendations</a:t>
            </a:r>
          </a:p>
        </p:txBody>
      </p:sp>
      <p:sp>
        <p:nvSpPr>
          <p:cNvPr id="120835" name="Rectangle 3"/>
          <p:cNvSpPr>
            <a:spLocks noGrp="1" noChangeArrowheads="1"/>
          </p:cNvSpPr>
          <p:nvPr>
            <p:ph type="body" idx="4294967295"/>
          </p:nvPr>
        </p:nvSpPr>
        <p:spPr/>
        <p:txBody>
          <a:bodyPr/>
          <a:lstStyle/>
          <a:p>
            <a:r>
              <a:rPr lang="en-US" sz="1600" smtClean="0"/>
              <a:t>Recommendations</a:t>
            </a:r>
          </a:p>
          <a:p>
            <a:pPr lvl="1"/>
            <a:r>
              <a:rPr lang="de-CH" sz="1600" smtClean="0"/>
              <a:t>Target an integrated solution, i.e. project-, budget- and operational components in the same system</a:t>
            </a:r>
          </a:p>
          <a:p>
            <a:pPr lvl="1"/>
            <a:r>
              <a:rPr lang="de-CH" sz="1600" smtClean="0"/>
              <a:t>Integrate person data (unique code) into the data collection system</a:t>
            </a:r>
          </a:p>
          <a:p>
            <a:pPr lvl="1"/>
            <a:r>
              <a:rPr lang="de-CH" sz="1600" smtClean="0"/>
              <a:t>Keep flexibility and extensibility in focus during design phase</a:t>
            </a:r>
            <a:endParaRPr lang="en-US" sz="1600" smtClean="0"/>
          </a:p>
          <a:p>
            <a:r>
              <a:rPr lang="en-US" sz="1600" smtClean="0"/>
              <a:t>Benefits (to staff, ALCS overall, patients/participants, other stakeholders)</a:t>
            </a:r>
          </a:p>
          <a:p>
            <a:pPr lvl="1"/>
            <a:r>
              <a:rPr lang="de-CH" sz="1600" smtClean="0"/>
              <a:t>No manual data reconciliation needed anymore</a:t>
            </a:r>
          </a:p>
          <a:p>
            <a:pPr lvl="1"/>
            <a:r>
              <a:rPr lang="de-CH" sz="1600" smtClean="0"/>
              <a:t>Reduction of process time and sources of possible errors</a:t>
            </a:r>
          </a:p>
          <a:p>
            <a:pPr lvl="1"/>
            <a:r>
              <a:rPr lang="de-CH" sz="1600" smtClean="0"/>
              <a:t>Central data storage</a:t>
            </a:r>
          </a:p>
          <a:p>
            <a:pPr lvl="1"/>
            <a:r>
              <a:rPr lang="de-CH" sz="1600" smtClean="0"/>
              <a:t>Instant reporting possibilities</a:t>
            </a:r>
            <a:endParaRPr lang="en-US" sz="1600" smtClean="0"/>
          </a:p>
          <a:p>
            <a:r>
              <a:rPr lang="en-US" sz="1600" smtClean="0"/>
              <a:t>Project Dependencies</a:t>
            </a:r>
          </a:p>
          <a:p>
            <a:pPr lvl="1"/>
            <a:r>
              <a:rPr lang="de-CH" sz="1600" smtClean="0"/>
              <a:t>Application changes for operational data have to be in synch with finance data changes</a:t>
            </a:r>
            <a:endParaRPr lang="en-US" sz="1600" smtClean="0"/>
          </a:p>
          <a:p>
            <a:r>
              <a:rPr lang="en-US" sz="1600" smtClean="0"/>
              <a:t>Challenges/Risks</a:t>
            </a:r>
          </a:p>
          <a:p>
            <a:pPr lvl="1"/>
            <a:r>
              <a:rPr lang="de-CH" sz="1600" smtClean="0"/>
              <a:t>Data model complexity</a:t>
            </a:r>
          </a:p>
          <a:p>
            <a:pPr lvl="1"/>
            <a:r>
              <a:rPr lang="de-CH" sz="1600" smtClean="0"/>
              <a:t>Implementation costs</a:t>
            </a:r>
          </a:p>
          <a:p>
            <a:pPr lvl="1"/>
            <a:r>
              <a:rPr lang="de-CH" sz="1600" smtClean="0"/>
              <a:t>Storage (number of records) / performance</a:t>
            </a:r>
            <a:endParaRPr lang="en-US" sz="1600" smtClean="0"/>
          </a:p>
          <a:p>
            <a:r>
              <a:rPr lang="en-US" sz="1600" smtClean="0"/>
              <a:t>Next Steps</a:t>
            </a:r>
          </a:p>
          <a:p>
            <a:pPr lvl="1"/>
            <a:r>
              <a:rPr lang="de-CH" sz="1600" smtClean="0"/>
              <a:t>Initiate request for proposal</a:t>
            </a:r>
            <a:endParaRPr lang="en-US" sz="1600" smtClean="0"/>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3"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22BE9745-4302-4E29-93BB-1E29A5A9A0B6}" type="slidenum">
              <a:rPr lang="en-US" sz="800"/>
              <a:pPr/>
              <a:t>42</a:t>
            </a:fld>
            <a:endParaRPr lang="en-US" sz="800"/>
          </a:p>
        </p:txBody>
      </p:sp>
      <p:grpSp>
        <p:nvGrpSpPr>
          <p:cNvPr id="84994" name="Group 3"/>
          <p:cNvGrpSpPr>
            <a:grpSpLocks/>
          </p:cNvGrpSpPr>
          <p:nvPr/>
        </p:nvGrpSpPr>
        <p:grpSpPr bwMode="auto">
          <a:xfrm>
            <a:off x="-9525" y="1866900"/>
            <a:ext cx="8869363" cy="503238"/>
            <a:chOff x="0" y="1071"/>
            <a:chExt cx="5587" cy="317"/>
          </a:xfrm>
        </p:grpSpPr>
        <p:sp>
          <p:nvSpPr>
            <p:cNvPr id="85016" name="Oval 4"/>
            <p:cNvSpPr>
              <a:spLocks noChangeArrowheads="1"/>
            </p:cNvSpPr>
            <p:nvPr>
              <p:custDataLst>
                <p:tags r:id="rId9"/>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1</a:t>
              </a:r>
            </a:p>
          </p:txBody>
        </p:sp>
        <p:sp>
          <p:nvSpPr>
            <p:cNvPr id="85017" name="Rectangle 5"/>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85018" name="Rectangle 6"/>
            <p:cNvSpPr>
              <a:spLocks noChangeArrowheads="1"/>
            </p:cNvSpPr>
            <p:nvPr>
              <p:custDataLst>
                <p:tags r:id="rId10"/>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85019" name="Rectangle 7"/>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nalysis and Assessment</a:t>
              </a:r>
              <a:endParaRPr lang="de-DE">
                <a:solidFill>
                  <a:srgbClr val="C0C0C0"/>
                </a:solidFill>
              </a:endParaRPr>
            </a:p>
          </p:txBody>
        </p:sp>
      </p:grpSp>
      <p:grpSp>
        <p:nvGrpSpPr>
          <p:cNvPr id="84995" name="Group 8"/>
          <p:cNvGrpSpPr>
            <a:grpSpLocks/>
          </p:cNvGrpSpPr>
          <p:nvPr/>
        </p:nvGrpSpPr>
        <p:grpSpPr bwMode="auto">
          <a:xfrm>
            <a:off x="0" y="3221038"/>
            <a:ext cx="8869363" cy="503237"/>
            <a:chOff x="0" y="1071"/>
            <a:chExt cx="5587" cy="317"/>
          </a:xfrm>
        </p:grpSpPr>
        <p:sp>
          <p:nvSpPr>
            <p:cNvPr id="85012" name="Oval 9"/>
            <p:cNvSpPr>
              <a:spLocks noChangeArrowheads="1"/>
            </p:cNvSpPr>
            <p:nvPr>
              <p:custDataLst>
                <p:tags r:id="rId7"/>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3</a:t>
              </a:r>
            </a:p>
          </p:txBody>
        </p:sp>
        <p:sp>
          <p:nvSpPr>
            <p:cNvPr id="85013" name="Rectangle 1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85014" name="Rectangle 11"/>
            <p:cNvSpPr>
              <a:spLocks noChangeArrowheads="1"/>
            </p:cNvSpPr>
            <p:nvPr>
              <p:custDataLst>
                <p:tags r:id="rId8"/>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85015" name="Rectangle 1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t>Design Considerations</a:t>
              </a:r>
            </a:p>
          </p:txBody>
        </p:sp>
      </p:grpSp>
      <p:grpSp>
        <p:nvGrpSpPr>
          <p:cNvPr id="84996" name="Group 13"/>
          <p:cNvGrpSpPr>
            <a:grpSpLocks/>
          </p:cNvGrpSpPr>
          <p:nvPr/>
        </p:nvGrpSpPr>
        <p:grpSpPr bwMode="auto">
          <a:xfrm>
            <a:off x="0" y="2590800"/>
            <a:ext cx="8869363" cy="503238"/>
            <a:chOff x="0" y="1071"/>
            <a:chExt cx="5587" cy="317"/>
          </a:xfrm>
        </p:grpSpPr>
        <p:sp>
          <p:nvSpPr>
            <p:cNvPr id="85008" name="Oval 14"/>
            <p:cNvSpPr>
              <a:spLocks noChangeArrowheads="1"/>
            </p:cNvSpPr>
            <p:nvPr>
              <p:custDataLst>
                <p:tags r:id="rId5"/>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2</a:t>
              </a:r>
            </a:p>
          </p:txBody>
        </p:sp>
        <p:sp>
          <p:nvSpPr>
            <p:cNvPr id="85009" name="Rectangle 15"/>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85010" name="Rectangle 16"/>
            <p:cNvSpPr>
              <a:spLocks noChangeArrowheads="1"/>
            </p:cNvSpPr>
            <p:nvPr>
              <p:custDataLst>
                <p:tags r:id="rId6"/>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85011" name="Rectangle 17"/>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Design Recommendations</a:t>
              </a:r>
            </a:p>
          </p:txBody>
        </p:sp>
      </p:grpSp>
      <p:grpSp>
        <p:nvGrpSpPr>
          <p:cNvPr id="84997" name="Group 18"/>
          <p:cNvGrpSpPr>
            <a:grpSpLocks/>
          </p:cNvGrpSpPr>
          <p:nvPr/>
        </p:nvGrpSpPr>
        <p:grpSpPr bwMode="auto">
          <a:xfrm>
            <a:off x="-20638" y="4325938"/>
            <a:ext cx="8869363" cy="503237"/>
            <a:chOff x="0" y="1071"/>
            <a:chExt cx="5587" cy="317"/>
          </a:xfrm>
        </p:grpSpPr>
        <p:sp>
          <p:nvSpPr>
            <p:cNvPr id="85004" name="Oval 19"/>
            <p:cNvSpPr>
              <a:spLocks noChangeArrowheads="1"/>
            </p:cNvSpPr>
            <p:nvPr>
              <p:custDataLst>
                <p:tags r:id="rId3"/>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4</a:t>
              </a:r>
            </a:p>
          </p:txBody>
        </p:sp>
        <p:sp>
          <p:nvSpPr>
            <p:cNvPr id="85005" name="Rectangle 2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85006" name="Rectangle 21"/>
            <p:cNvSpPr>
              <a:spLocks noChangeArrowheads="1"/>
            </p:cNvSpPr>
            <p:nvPr>
              <p:custDataLst>
                <p:tags r:id="rId4"/>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85007" name="Rectangle 2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dditional Recommendations for Prioritized Projects</a:t>
              </a:r>
            </a:p>
          </p:txBody>
        </p:sp>
      </p:grpSp>
      <p:grpSp>
        <p:nvGrpSpPr>
          <p:cNvPr id="84998" name="Group 18"/>
          <p:cNvGrpSpPr>
            <a:grpSpLocks/>
          </p:cNvGrpSpPr>
          <p:nvPr/>
        </p:nvGrpSpPr>
        <p:grpSpPr bwMode="auto">
          <a:xfrm>
            <a:off x="-31750" y="4964113"/>
            <a:ext cx="8869363" cy="503237"/>
            <a:chOff x="0" y="1071"/>
            <a:chExt cx="5587" cy="317"/>
          </a:xfrm>
        </p:grpSpPr>
        <p:sp>
          <p:nvSpPr>
            <p:cNvPr id="85000" name="Oval 19"/>
            <p:cNvSpPr>
              <a:spLocks noChangeArrowheads="1"/>
            </p:cNvSpPr>
            <p:nvPr>
              <p:custDataLst>
                <p:tags r:id="rId1"/>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5</a:t>
              </a:r>
            </a:p>
          </p:txBody>
        </p:sp>
        <p:sp>
          <p:nvSpPr>
            <p:cNvPr id="85001" name="Rectangle 2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85002" name="Rectangle 21"/>
            <p:cNvSpPr>
              <a:spLocks noChangeArrowheads="1"/>
            </p:cNvSpPr>
            <p:nvPr>
              <p:custDataLst>
                <p:tags r:id="rId2"/>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85003" name="Rectangle 2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ppendix</a:t>
              </a:r>
            </a:p>
          </p:txBody>
        </p:sp>
      </p:grpSp>
      <p:sp>
        <p:nvSpPr>
          <p:cNvPr id="84999" name="Rectangle 28"/>
          <p:cNvSpPr>
            <a:spLocks noChangeArrowheads="1"/>
          </p:cNvSpPr>
          <p:nvPr/>
        </p:nvSpPr>
        <p:spPr bwMode="auto">
          <a:xfrm>
            <a:off x="1371600" y="3749675"/>
            <a:ext cx="4572000" cy="517525"/>
          </a:xfrm>
          <a:prstGeom prst="rect">
            <a:avLst/>
          </a:prstGeom>
          <a:noFill/>
          <a:ln w="9525">
            <a:noFill/>
            <a:miter lim="800000"/>
            <a:headEnd/>
            <a:tailEnd/>
          </a:ln>
        </p:spPr>
        <p:txBody>
          <a:bodyPr>
            <a:spAutoFit/>
          </a:bodyPr>
          <a:lstStyle/>
          <a:p>
            <a:pPr>
              <a:buClr>
                <a:srgbClr val="7889FB"/>
              </a:buClr>
              <a:buFont typeface="Wingdings" pitchFamily="2" charset="2"/>
              <a:buChar char="§"/>
            </a:pPr>
            <a:r>
              <a:rPr lang="de-DE" sz="1400"/>
              <a:t> Program Management Design Points</a:t>
            </a:r>
          </a:p>
          <a:p>
            <a:pPr>
              <a:buClr>
                <a:srgbClr val="7889FB"/>
              </a:buClr>
              <a:buFont typeface="Wingdings" pitchFamily="2" charset="2"/>
              <a:buChar char="§"/>
            </a:pPr>
            <a:r>
              <a:rPr lang="de-DE" sz="1400"/>
              <a:t> Criteria for Decision Making</a:t>
            </a:r>
            <a:endParaRPr lang="en-US" sz="1400"/>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7" name="Rectangle 2"/>
          <p:cNvSpPr>
            <a:spLocks noGrp="1" noChangeArrowheads="1"/>
          </p:cNvSpPr>
          <p:nvPr>
            <p:ph type="title" idx="4294967295"/>
          </p:nvPr>
        </p:nvSpPr>
        <p:spPr/>
        <p:txBody>
          <a:bodyPr/>
          <a:lstStyle/>
          <a:p>
            <a:pPr eaLnBrk="1" hangingPunct="1"/>
            <a:r>
              <a:rPr lang="en-US" smtClean="0"/>
              <a:t>Software/Development Partner Selection Considerations</a:t>
            </a:r>
          </a:p>
        </p:txBody>
      </p:sp>
      <p:sp>
        <p:nvSpPr>
          <p:cNvPr id="86018" name="Rectangle 3"/>
          <p:cNvSpPr>
            <a:spLocks noGrp="1" noChangeArrowheads="1"/>
          </p:cNvSpPr>
          <p:nvPr>
            <p:ph type="body" idx="4294967295"/>
          </p:nvPr>
        </p:nvSpPr>
        <p:spPr/>
        <p:txBody>
          <a:bodyPr/>
          <a:lstStyle/>
          <a:p>
            <a:pPr eaLnBrk="1" hangingPunct="1"/>
            <a:r>
              <a:rPr lang="en-US" sz="1800" smtClean="0"/>
              <a:t>What to use</a:t>
            </a:r>
          </a:p>
          <a:p>
            <a:pPr eaLnBrk="1" hangingPunct="1"/>
            <a:r>
              <a:rPr lang="en-US" sz="1800" smtClean="0"/>
              <a:t>What not to use, why not</a:t>
            </a:r>
          </a:p>
          <a:p>
            <a:pPr eaLnBrk="1" hangingPunct="1"/>
            <a:r>
              <a:rPr lang="en-US" sz="1800" smtClean="0"/>
              <a:t>Implementation cost</a:t>
            </a:r>
          </a:p>
          <a:p>
            <a:pPr eaLnBrk="1" hangingPunct="1"/>
            <a:r>
              <a:rPr lang="en-US" sz="1800" smtClean="0"/>
              <a:t>Maintenance/sustainability</a:t>
            </a:r>
          </a:p>
          <a:p>
            <a:pPr lvl="1" eaLnBrk="1" hangingPunct="1">
              <a:buFont typeface="Arial" charset="0"/>
              <a:buNone/>
            </a:pPr>
            <a:endParaRPr lang="en-US" smtClean="0"/>
          </a:p>
        </p:txBody>
      </p:sp>
      <p:pic>
        <p:nvPicPr>
          <p:cNvPr id="86019" name="Picture 49"/>
          <p:cNvPicPr>
            <a:picLocks noChangeAspect="1" noChangeArrowheads="1"/>
          </p:cNvPicPr>
          <p:nvPr/>
        </p:nvPicPr>
        <p:blipFill>
          <a:blip r:embed="rId2"/>
          <a:srcRect/>
          <a:stretch>
            <a:fillRect/>
          </a:stretch>
        </p:blipFill>
        <p:spPr bwMode="auto">
          <a:xfrm>
            <a:off x="3644900" y="1295400"/>
            <a:ext cx="1004888" cy="982663"/>
          </a:xfrm>
          <a:prstGeom prst="rect">
            <a:avLst/>
          </a:prstGeom>
          <a:noFill/>
          <a:ln w="9525" algn="ctr">
            <a:noFill/>
            <a:miter lim="800000"/>
            <a:headEnd/>
            <a:tailEnd/>
          </a:ln>
        </p:spPr>
      </p:pic>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1" name="Rectangle 2"/>
          <p:cNvSpPr>
            <a:spLocks noGrp="1" noChangeArrowheads="1"/>
          </p:cNvSpPr>
          <p:nvPr>
            <p:ph type="title" idx="4294967295"/>
          </p:nvPr>
        </p:nvSpPr>
        <p:spPr/>
        <p:txBody>
          <a:bodyPr/>
          <a:lstStyle/>
          <a:p>
            <a:pPr eaLnBrk="1" hangingPunct="1"/>
            <a:r>
              <a:rPr lang="en-US" smtClean="0"/>
              <a:t>Criteria for Decision Making</a:t>
            </a:r>
          </a:p>
        </p:txBody>
      </p:sp>
      <p:sp>
        <p:nvSpPr>
          <p:cNvPr id="87042" name="Rectangle 3"/>
          <p:cNvSpPr>
            <a:spLocks noGrp="1" noChangeArrowheads="1"/>
          </p:cNvSpPr>
          <p:nvPr>
            <p:ph type="body" idx="4294967295"/>
          </p:nvPr>
        </p:nvSpPr>
        <p:spPr/>
        <p:txBody>
          <a:bodyPr/>
          <a:lstStyle/>
          <a:p>
            <a:pPr lvl="1" eaLnBrk="1" hangingPunct="1">
              <a:buFont typeface="Arial" charset="0"/>
              <a:buNone/>
            </a:pPr>
            <a:endParaRPr lang="en-US" smtClean="0"/>
          </a:p>
          <a:p>
            <a:pPr eaLnBrk="1" hangingPunct="1"/>
            <a:r>
              <a:rPr lang="en-US" sz="1800" smtClean="0"/>
              <a:t>Cost</a:t>
            </a:r>
          </a:p>
          <a:p>
            <a:pPr eaLnBrk="1" hangingPunct="1"/>
            <a:r>
              <a:rPr lang="en-US" sz="1800" smtClean="0"/>
              <a:t>Impact on Business</a:t>
            </a:r>
          </a:p>
          <a:p>
            <a:pPr eaLnBrk="1" hangingPunct="1"/>
            <a:r>
              <a:rPr lang="en-US" sz="1800" smtClean="0"/>
              <a:t>Time</a:t>
            </a:r>
          </a:p>
          <a:p>
            <a:pPr eaLnBrk="1" hangingPunct="1"/>
            <a:r>
              <a:rPr lang="en-US" sz="1800" smtClean="0"/>
              <a:t>Sustainability</a:t>
            </a:r>
          </a:p>
          <a:p>
            <a:pPr eaLnBrk="1" hangingPunct="1"/>
            <a:r>
              <a:rPr lang="en-US" sz="1800" smtClean="0"/>
              <a:t>Flexibility</a:t>
            </a:r>
          </a:p>
          <a:p>
            <a:pPr eaLnBrk="1" hangingPunct="1"/>
            <a:r>
              <a:rPr lang="en-US" sz="1800" smtClean="0"/>
              <a:t>New development vs. customization</a:t>
            </a:r>
          </a:p>
          <a:p>
            <a:pPr eaLnBrk="1" hangingPunct="1"/>
            <a:r>
              <a:rPr lang="en-US" sz="1800" smtClean="0"/>
              <a:t>Cloud vs. in-house</a:t>
            </a:r>
          </a:p>
          <a:p>
            <a:pPr eaLnBrk="1" hangingPunct="1"/>
            <a:r>
              <a:rPr lang="en-US" sz="1800" smtClean="0"/>
              <a:t>Real time data access and data collection</a:t>
            </a:r>
          </a:p>
          <a:p>
            <a:pPr eaLnBrk="1" hangingPunct="1"/>
            <a:r>
              <a:rPr lang="en-US" sz="1800" smtClean="0"/>
              <a:t>Product functionality</a:t>
            </a:r>
          </a:p>
          <a:p>
            <a:pPr eaLnBrk="1" hangingPunct="1"/>
            <a:endParaRPr lang="en-US" sz="1800" smtClean="0"/>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5"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404639AA-6766-4624-99ED-54702965A626}" type="slidenum">
              <a:rPr lang="en-US" sz="800"/>
              <a:pPr/>
              <a:t>45</a:t>
            </a:fld>
            <a:endParaRPr lang="en-US" sz="800"/>
          </a:p>
        </p:txBody>
      </p:sp>
      <p:grpSp>
        <p:nvGrpSpPr>
          <p:cNvPr id="88066" name="Group 3"/>
          <p:cNvGrpSpPr>
            <a:grpSpLocks/>
          </p:cNvGrpSpPr>
          <p:nvPr/>
        </p:nvGrpSpPr>
        <p:grpSpPr bwMode="auto">
          <a:xfrm>
            <a:off x="-9525" y="1866900"/>
            <a:ext cx="8869363" cy="503238"/>
            <a:chOff x="0" y="1071"/>
            <a:chExt cx="5587" cy="317"/>
          </a:xfrm>
        </p:grpSpPr>
        <p:sp>
          <p:nvSpPr>
            <p:cNvPr id="88093" name="Oval 4"/>
            <p:cNvSpPr>
              <a:spLocks noChangeArrowheads="1"/>
            </p:cNvSpPr>
            <p:nvPr>
              <p:custDataLst>
                <p:tags r:id="rId9"/>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1</a:t>
              </a:r>
            </a:p>
          </p:txBody>
        </p:sp>
        <p:sp>
          <p:nvSpPr>
            <p:cNvPr id="88094" name="Rectangle 5"/>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88095" name="Rectangle 6"/>
            <p:cNvSpPr>
              <a:spLocks noChangeArrowheads="1"/>
            </p:cNvSpPr>
            <p:nvPr>
              <p:custDataLst>
                <p:tags r:id="rId10"/>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88096" name="Rectangle 7"/>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nalysis and Assessment</a:t>
              </a:r>
              <a:endParaRPr lang="de-DE">
                <a:solidFill>
                  <a:srgbClr val="C0C0C0"/>
                </a:solidFill>
              </a:endParaRPr>
            </a:p>
          </p:txBody>
        </p:sp>
      </p:grpSp>
      <p:grpSp>
        <p:nvGrpSpPr>
          <p:cNvPr id="88067" name="Group 8"/>
          <p:cNvGrpSpPr>
            <a:grpSpLocks/>
          </p:cNvGrpSpPr>
          <p:nvPr/>
        </p:nvGrpSpPr>
        <p:grpSpPr bwMode="auto">
          <a:xfrm>
            <a:off x="0" y="3221038"/>
            <a:ext cx="8869363" cy="503237"/>
            <a:chOff x="0" y="1071"/>
            <a:chExt cx="5587" cy="317"/>
          </a:xfrm>
        </p:grpSpPr>
        <p:sp>
          <p:nvSpPr>
            <p:cNvPr id="88089" name="Oval 9"/>
            <p:cNvSpPr>
              <a:spLocks noChangeArrowheads="1"/>
            </p:cNvSpPr>
            <p:nvPr>
              <p:custDataLst>
                <p:tags r:id="rId7"/>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3</a:t>
              </a:r>
            </a:p>
          </p:txBody>
        </p:sp>
        <p:sp>
          <p:nvSpPr>
            <p:cNvPr id="88090" name="Rectangle 1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88091" name="Rectangle 11"/>
            <p:cNvSpPr>
              <a:spLocks noChangeArrowheads="1"/>
            </p:cNvSpPr>
            <p:nvPr>
              <p:custDataLst>
                <p:tags r:id="rId8"/>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88092" name="Rectangle 1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Design Considerations</a:t>
              </a:r>
            </a:p>
          </p:txBody>
        </p:sp>
      </p:grpSp>
      <p:grpSp>
        <p:nvGrpSpPr>
          <p:cNvPr id="88068" name="Group 13"/>
          <p:cNvGrpSpPr>
            <a:grpSpLocks/>
          </p:cNvGrpSpPr>
          <p:nvPr/>
        </p:nvGrpSpPr>
        <p:grpSpPr bwMode="auto">
          <a:xfrm>
            <a:off x="0" y="2590800"/>
            <a:ext cx="8869363" cy="503238"/>
            <a:chOff x="0" y="1071"/>
            <a:chExt cx="5587" cy="317"/>
          </a:xfrm>
        </p:grpSpPr>
        <p:sp>
          <p:nvSpPr>
            <p:cNvPr id="88085" name="Oval 14"/>
            <p:cNvSpPr>
              <a:spLocks noChangeArrowheads="1"/>
            </p:cNvSpPr>
            <p:nvPr>
              <p:custDataLst>
                <p:tags r:id="rId5"/>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2</a:t>
              </a:r>
            </a:p>
          </p:txBody>
        </p:sp>
        <p:sp>
          <p:nvSpPr>
            <p:cNvPr id="88086" name="Rectangle 15"/>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88087" name="Rectangle 16"/>
            <p:cNvSpPr>
              <a:spLocks noChangeArrowheads="1"/>
            </p:cNvSpPr>
            <p:nvPr>
              <p:custDataLst>
                <p:tags r:id="rId6"/>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88088" name="Rectangle 17"/>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Design Recommendations</a:t>
              </a:r>
            </a:p>
          </p:txBody>
        </p:sp>
      </p:grpSp>
      <p:grpSp>
        <p:nvGrpSpPr>
          <p:cNvPr id="88069" name="Group 18"/>
          <p:cNvGrpSpPr>
            <a:grpSpLocks/>
          </p:cNvGrpSpPr>
          <p:nvPr/>
        </p:nvGrpSpPr>
        <p:grpSpPr bwMode="auto">
          <a:xfrm>
            <a:off x="-9525" y="3868738"/>
            <a:ext cx="8869363" cy="503237"/>
            <a:chOff x="0" y="1071"/>
            <a:chExt cx="5587" cy="317"/>
          </a:xfrm>
        </p:grpSpPr>
        <p:sp>
          <p:nvSpPr>
            <p:cNvPr id="88081" name="Oval 19"/>
            <p:cNvSpPr>
              <a:spLocks noChangeArrowheads="1"/>
            </p:cNvSpPr>
            <p:nvPr>
              <p:custDataLst>
                <p:tags r:id="rId3"/>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4</a:t>
              </a:r>
            </a:p>
          </p:txBody>
        </p:sp>
        <p:sp>
          <p:nvSpPr>
            <p:cNvPr id="88082" name="Rectangle 2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88083" name="Rectangle 21"/>
            <p:cNvSpPr>
              <a:spLocks noChangeArrowheads="1"/>
            </p:cNvSpPr>
            <p:nvPr>
              <p:custDataLst>
                <p:tags r:id="rId4"/>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88084" name="Rectangle 2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t>Additional Recommendations for Prioritized Projects</a:t>
              </a:r>
            </a:p>
          </p:txBody>
        </p:sp>
      </p:grpSp>
      <p:grpSp>
        <p:nvGrpSpPr>
          <p:cNvPr id="88070" name="Group 18"/>
          <p:cNvGrpSpPr>
            <a:grpSpLocks/>
          </p:cNvGrpSpPr>
          <p:nvPr/>
        </p:nvGrpSpPr>
        <p:grpSpPr bwMode="auto">
          <a:xfrm>
            <a:off x="-9525" y="5867400"/>
            <a:ext cx="8869363" cy="503238"/>
            <a:chOff x="0" y="1071"/>
            <a:chExt cx="5587" cy="317"/>
          </a:xfrm>
        </p:grpSpPr>
        <p:sp>
          <p:nvSpPr>
            <p:cNvPr id="88077" name="Oval 19"/>
            <p:cNvSpPr>
              <a:spLocks noChangeArrowheads="1"/>
            </p:cNvSpPr>
            <p:nvPr>
              <p:custDataLst>
                <p:tags r:id="rId1"/>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5</a:t>
              </a:r>
            </a:p>
          </p:txBody>
        </p:sp>
        <p:sp>
          <p:nvSpPr>
            <p:cNvPr id="88078" name="Rectangle 2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88079" name="Rectangle 21"/>
            <p:cNvSpPr>
              <a:spLocks noChangeArrowheads="1"/>
            </p:cNvSpPr>
            <p:nvPr>
              <p:custDataLst>
                <p:tags r:id="rId2"/>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88080" name="Rectangle 2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ppendix</a:t>
              </a:r>
            </a:p>
          </p:txBody>
        </p:sp>
      </p:grpSp>
      <p:sp>
        <p:nvSpPr>
          <p:cNvPr id="88071" name="Oval 3"/>
          <p:cNvSpPr>
            <a:spLocks noChangeArrowheads="1"/>
          </p:cNvSpPr>
          <p:nvPr/>
        </p:nvSpPr>
        <p:spPr bwMode="gray">
          <a:xfrm>
            <a:off x="1598613" y="4371975"/>
            <a:ext cx="239712"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1</a:t>
            </a:r>
          </a:p>
        </p:txBody>
      </p:sp>
      <p:sp>
        <p:nvSpPr>
          <p:cNvPr id="88072" name="Oval 3"/>
          <p:cNvSpPr>
            <a:spLocks noChangeArrowheads="1"/>
          </p:cNvSpPr>
          <p:nvPr/>
        </p:nvSpPr>
        <p:spPr bwMode="gray">
          <a:xfrm>
            <a:off x="1598613" y="4649788"/>
            <a:ext cx="239712"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2</a:t>
            </a:r>
          </a:p>
        </p:txBody>
      </p:sp>
      <p:sp>
        <p:nvSpPr>
          <p:cNvPr id="88073" name="Oval 3"/>
          <p:cNvSpPr>
            <a:spLocks noChangeArrowheads="1"/>
          </p:cNvSpPr>
          <p:nvPr/>
        </p:nvSpPr>
        <p:spPr bwMode="gray">
          <a:xfrm>
            <a:off x="1598613" y="4927600"/>
            <a:ext cx="239712"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3</a:t>
            </a:r>
          </a:p>
        </p:txBody>
      </p:sp>
      <p:sp>
        <p:nvSpPr>
          <p:cNvPr id="88074" name="Oval 3"/>
          <p:cNvSpPr>
            <a:spLocks noChangeArrowheads="1"/>
          </p:cNvSpPr>
          <p:nvPr/>
        </p:nvSpPr>
        <p:spPr bwMode="gray">
          <a:xfrm>
            <a:off x="1598613" y="5205413"/>
            <a:ext cx="239712"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4</a:t>
            </a:r>
          </a:p>
        </p:txBody>
      </p:sp>
      <p:sp>
        <p:nvSpPr>
          <p:cNvPr id="88075" name="Oval 3"/>
          <p:cNvSpPr>
            <a:spLocks noChangeArrowheads="1"/>
          </p:cNvSpPr>
          <p:nvPr/>
        </p:nvSpPr>
        <p:spPr bwMode="gray">
          <a:xfrm>
            <a:off x="1598613" y="5483225"/>
            <a:ext cx="239712" cy="250825"/>
          </a:xfrm>
          <a:prstGeom prst="ellipse">
            <a:avLst/>
          </a:prstGeom>
          <a:solidFill>
            <a:srgbClr val="FF6600"/>
          </a:solidFill>
          <a:ln w="6350">
            <a:solidFill>
              <a:schemeClr val="bg2"/>
            </a:solidFill>
            <a:miter lim="800000"/>
            <a:headEnd/>
            <a:tailEnd/>
          </a:ln>
        </p:spPr>
        <p:txBody>
          <a:bodyPr wrap="none" lIns="91436" tIns="45716" rIns="91436" bIns="45716" anchor="ctr"/>
          <a:lstStyle/>
          <a:p>
            <a:pPr algn="ctr">
              <a:buFont typeface="Wingdings" pitchFamily="2" charset="2"/>
              <a:buNone/>
            </a:pPr>
            <a:r>
              <a:rPr lang="en-US" sz="1100" b="1">
                <a:solidFill>
                  <a:schemeClr val="bg1"/>
                </a:solidFill>
              </a:rPr>
              <a:t>5</a:t>
            </a:r>
          </a:p>
        </p:txBody>
      </p:sp>
      <p:sp>
        <p:nvSpPr>
          <p:cNvPr id="88076" name="Rectangle 35"/>
          <p:cNvSpPr>
            <a:spLocks noChangeArrowheads="1"/>
          </p:cNvSpPr>
          <p:nvPr/>
        </p:nvSpPr>
        <p:spPr bwMode="auto">
          <a:xfrm>
            <a:off x="1838325" y="4371975"/>
            <a:ext cx="4572000" cy="1370013"/>
          </a:xfrm>
          <a:prstGeom prst="rect">
            <a:avLst/>
          </a:prstGeom>
          <a:noFill/>
          <a:ln w="9525">
            <a:noFill/>
            <a:miter lim="800000"/>
            <a:headEnd/>
            <a:tailEnd/>
          </a:ln>
        </p:spPr>
        <p:txBody>
          <a:bodyPr>
            <a:spAutoFit/>
          </a:bodyPr>
          <a:lstStyle/>
          <a:p>
            <a:pPr lvl="1">
              <a:lnSpc>
                <a:spcPct val="120000"/>
              </a:lnSpc>
            </a:pPr>
            <a:r>
              <a:rPr lang="en-US" sz="1400"/>
              <a:t>Systems Integration</a:t>
            </a:r>
          </a:p>
          <a:p>
            <a:pPr lvl="1">
              <a:lnSpc>
                <a:spcPct val="120000"/>
              </a:lnSpc>
            </a:pPr>
            <a:r>
              <a:rPr lang="en-US" sz="1400"/>
              <a:t>Communications</a:t>
            </a:r>
          </a:p>
          <a:p>
            <a:pPr lvl="1">
              <a:lnSpc>
                <a:spcPct val="120000"/>
              </a:lnSpc>
            </a:pPr>
            <a:r>
              <a:rPr lang="en-US" sz="1400"/>
              <a:t>Archiving/Backup</a:t>
            </a:r>
          </a:p>
          <a:p>
            <a:pPr lvl="1">
              <a:lnSpc>
                <a:spcPct val="120000"/>
              </a:lnSpc>
            </a:pPr>
            <a:r>
              <a:rPr lang="en-US" sz="1400"/>
              <a:t>Fundraising</a:t>
            </a:r>
          </a:p>
          <a:p>
            <a:pPr lvl="1">
              <a:lnSpc>
                <a:spcPct val="120000"/>
              </a:lnSpc>
            </a:pPr>
            <a:r>
              <a:rPr lang="en-US" sz="1400"/>
              <a:t>Mobile</a:t>
            </a: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89" name="Rectangle 2"/>
          <p:cNvSpPr>
            <a:spLocks noGrp="1" noChangeArrowheads="1"/>
          </p:cNvSpPr>
          <p:nvPr>
            <p:ph type="title"/>
          </p:nvPr>
        </p:nvSpPr>
        <p:spPr>
          <a:xfrm>
            <a:off x="274638" y="593725"/>
            <a:ext cx="7645400" cy="979488"/>
          </a:xfrm>
        </p:spPr>
        <p:txBody>
          <a:bodyPr/>
          <a:lstStyle/>
          <a:p>
            <a:pPr eaLnBrk="1" hangingPunct="1"/>
            <a:r>
              <a:rPr lang="en-US" sz="1800" b="1" smtClean="0"/>
              <a:t>Systems Integration Recommendations</a:t>
            </a:r>
            <a:r>
              <a:rPr lang="en-US" sz="1800" smtClean="0"/>
              <a:t>:</a:t>
            </a:r>
            <a:br>
              <a:rPr lang="en-US" sz="1800" smtClean="0"/>
            </a:br>
            <a:r>
              <a:rPr lang="en-US" sz="1800" i="1" smtClean="0"/>
              <a:t>Assessment of interface possibilities </a:t>
            </a:r>
            <a:r>
              <a:rPr lang="en-US" sz="1700" i="1" smtClean="0"/>
              <a:t>between SAGE1000 &amp; SAGE100 </a:t>
            </a:r>
            <a:br>
              <a:rPr lang="en-US" sz="1700" i="1" smtClean="0"/>
            </a:br>
            <a:endParaRPr lang="en-US" sz="1800" i="1" smtClean="0"/>
          </a:p>
        </p:txBody>
      </p:sp>
      <p:sp>
        <p:nvSpPr>
          <p:cNvPr id="7" name="AutoShape 12"/>
          <p:cNvSpPr>
            <a:spLocks noChangeArrowheads="1"/>
          </p:cNvSpPr>
          <p:nvPr/>
        </p:nvSpPr>
        <p:spPr bwMode="auto">
          <a:xfrm>
            <a:off x="2492375" y="1706563"/>
            <a:ext cx="6469063" cy="1096962"/>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buFont typeface="Wingdings" pitchFamily="2" charset="2"/>
              <a:buChar char="§"/>
            </a:pPr>
            <a:endParaRPr lang="en-US" sz="1100">
              <a:solidFill>
                <a:srgbClr val="000000"/>
              </a:solidFill>
            </a:endParaRPr>
          </a:p>
          <a:p>
            <a:pPr>
              <a:buFont typeface="Arial" charset="0"/>
              <a:buChar char="•"/>
            </a:pPr>
            <a:r>
              <a:rPr lang="en-US" sz="1100">
                <a:solidFill>
                  <a:schemeClr val="tx1"/>
                </a:solidFill>
              </a:rPr>
              <a:t>Process should be redefined or system should be customized to use single system only</a:t>
            </a:r>
          </a:p>
          <a:p>
            <a:pPr>
              <a:buFont typeface="Arial" charset="0"/>
              <a:buChar char="•"/>
            </a:pPr>
            <a:r>
              <a:rPr lang="en-US" sz="1100">
                <a:solidFill>
                  <a:schemeClr val="tx1"/>
                </a:solidFill>
              </a:rPr>
              <a:t>Development in SAGE100 system only to reduce maintenance cost</a:t>
            </a:r>
          </a:p>
          <a:p>
            <a:pPr>
              <a:buFont typeface="Arial" charset="0"/>
              <a:buChar char="•"/>
            </a:pPr>
            <a:r>
              <a:rPr lang="en-US" sz="1100">
                <a:solidFill>
                  <a:schemeClr val="tx1"/>
                </a:solidFill>
              </a:rPr>
              <a:t>Automating process of data cleansing and upload to SAGE1000</a:t>
            </a:r>
          </a:p>
          <a:p>
            <a:pPr>
              <a:buFont typeface="Arial" charset="0"/>
              <a:buChar char="•"/>
            </a:pPr>
            <a:r>
              <a:rPr lang="en-US" sz="1100">
                <a:solidFill>
                  <a:schemeClr val="tx1"/>
                </a:solidFill>
              </a:rPr>
              <a:t>Standardize data for interfacing – file format and data elements</a:t>
            </a:r>
          </a:p>
          <a:p>
            <a:pPr>
              <a:buFont typeface="Arial" charset="0"/>
              <a:buChar char="•"/>
            </a:pPr>
            <a:r>
              <a:rPr lang="en-US" sz="1100">
                <a:solidFill>
                  <a:schemeClr val="tx1"/>
                </a:solidFill>
              </a:rPr>
              <a:t>Define back up option in case of interface failure</a:t>
            </a:r>
          </a:p>
          <a:p>
            <a:pPr lvl="4">
              <a:buFont typeface="Arial" charset="0"/>
              <a:buChar char="•"/>
            </a:pPr>
            <a:endParaRPr lang="en-US" sz="1100">
              <a:solidFill>
                <a:schemeClr val="tx1"/>
              </a:solidFill>
            </a:endParaRPr>
          </a:p>
        </p:txBody>
      </p:sp>
      <p:sp>
        <p:nvSpPr>
          <p:cNvPr id="11" name="AutoShape 30"/>
          <p:cNvSpPr>
            <a:spLocks noChangeArrowheads="1"/>
          </p:cNvSpPr>
          <p:nvPr/>
        </p:nvSpPr>
        <p:spPr bwMode="auto">
          <a:xfrm>
            <a:off x="2490788" y="4057650"/>
            <a:ext cx="6470650" cy="1096963"/>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buFont typeface="Wingdings" pitchFamily="2" charset="2"/>
              <a:buChar char="§"/>
              <a:defRPr/>
            </a:pPr>
            <a:r>
              <a:rPr lang="en-US" sz="1100" dirty="0"/>
              <a:t>Processes should be redefined to have more commonality so that automation can take place</a:t>
            </a:r>
          </a:p>
          <a:p>
            <a:pPr>
              <a:buFont typeface="Wingdings" pitchFamily="2" charset="2"/>
              <a:buChar char="§"/>
              <a:defRPr/>
            </a:pPr>
            <a:r>
              <a:rPr lang="en-US" sz="1100" dirty="0"/>
              <a:t>SAGE 100 should be customized and users should be trained to use only SAGE 100  only</a:t>
            </a:r>
          </a:p>
          <a:p>
            <a:pPr>
              <a:buFont typeface="Wingdings" pitchFamily="2" charset="2"/>
              <a:buChar char="§"/>
              <a:defRPr/>
            </a:pPr>
            <a:r>
              <a:rPr lang="en-US" sz="1100" dirty="0"/>
              <a:t>Test plan should be defined with specific test cases for testing of interface </a:t>
            </a:r>
          </a:p>
          <a:p>
            <a:pPr>
              <a:buFont typeface="Wingdings" pitchFamily="2" charset="2"/>
              <a:buChar char="§"/>
              <a:defRPr/>
            </a:pPr>
            <a:r>
              <a:rPr lang="en-US" sz="1100" dirty="0"/>
              <a:t>A test environment should be created for interface implementation and testing before applying this</a:t>
            </a:r>
          </a:p>
          <a:p>
            <a:pPr>
              <a:defRPr/>
            </a:pPr>
            <a:r>
              <a:rPr lang="en-US" sz="1100" dirty="0"/>
              <a:t> interface in live production system</a:t>
            </a:r>
            <a:endParaRPr lang="en-US" sz="1100" dirty="0"/>
          </a:p>
        </p:txBody>
      </p:sp>
      <p:sp>
        <p:nvSpPr>
          <p:cNvPr id="12" name="AutoShape 32"/>
          <p:cNvSpPr>
            <a:spLocks noChangeArrowheads="1"/>
          </p:cNvSpPr>
          <p:nvPr/>
        </p:nvSpPr>
        <p:spPr bwMode="auto">
          <a:xfrm>
            <a:off x="2490788" y="5235575"/>
            <a:ext cx="6470650" cy="1098550"/>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buFont typeface="Wingdings" pitchFamily="2" charset="2"/>
              <a:buChar char="§"/>
              <a:defRPr/>
            </a:pPr>
            <a:r>
              <a:rPr lang="en-US" sz="1100" dirty="0"/>
              <a:t>Faster and error free data transfer between two systems</a:t>
            </a:r>
          </a:p>
          <a:p>
            <a:pPr>
              <a:buFont typeface="Wingdings" pitchFamily="2" charset="2"/>
              <a:buChar char="§"/>
              <a:defRPr/>
            </a:pPr>
            <a:r>
              <a:rPr lang="en-US" sz="1100" dirty="0"/>
              <a:t>Better return on investment</a:t>
            </a:r>
          </a:p>
          <a:p>
            <a:pPr>
              <a:buFont typeface="Wingdings" pitchFamily="2" charset="2"/>
              <a:buChar char="§"/>
              <a:defRPr/>
            </a:pPr>
            <a:endParaRPr lang="en-US" sz="1100" dirty="0"/>
          </a:p>
          <a:p>
            <a:pPr>
              <a:buFont typeface="Wingdings" pitchFamily="2" charset="2"/>
              <a:buChar char="§"/>
              <a:defRPr/>
            </a:pPr>
            <a:endParaRPr lang="en-US" sz="1100" dirty="0"/>
          </a:p>
        </p:txBody>
      </p:sp>
      <p:sp>
        <p:nvSpPr>
          <p:cNvPr id="13" name="AutoShape 33"/>
          <p:cNvSpPr>
            <a:spLocks noChangeArrowheads="1"/>
          </p:cNvSpPr>
          <p:nvPr/>
        </p:nvSpPr>
        <p:spPr bwMode="auto">
          <a:xfrm>
            <a:off x="268288" y="5235575"/>
            <a:ext cx="2224087" cy="1098550"/>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endParaRPr lang="pt-BR" sz="1400" b="1" dirty="0">
              <a:solidFill>
                <a:schemeClr val="bg1"/>
              </a:solidFill>
            </a:endParaRPr>
          </a:p>
          <a:p>
            <a:pPr algn="ctr">
              <a:defRPr/>
            </a:pPr>
            <a:r>
              <a:rPr lang="en-US" sz="1400" b="1" dirty="0">
                <a:solidFill>
                  <a:schemeClr val="bg1"/>
                </a:solidFill>
              </a:rPr>
              <a:t>Impact</a:t>
            </a:r>
            <a:endParaRPr lang="en-US" sz="1400" b="1" dirty="0">
              <a:solidFill>
                <a:schemeClr val="bg1"/>
              </a:solidFill>
            </a:endParaRPr>
          </a:p>
          <a:p>
            <a:pPr algn="ctr">
              <a:defRPr/>
            </a:pPr>
            <a:endParaRPr lang="en-US" sz="1400" b="1" dirty="0">
              <a:solidFill>
                <a:schemeClr val="bg1"/>
              </a:solidFill>
            </a:endParaRPr>
          </a:p>
        </p:txBody>
      </p:sp>
      <p:sp>
        <p:nvSpPr>
          <p:cNvPr id="14" name="AutoShape 35"/>
          <p:cNvSpPr>
            <a:spLocks noChangeArrowheads="1"/>
          </p:cNvSpPr>
          <p:nvPr/>
        </p:nvSpPr>
        <p:spPr bwMode="auto">
          <a:xfrm>
            <a:off x="2490788" y="2889250"/>
            <a:ext cx="6470650" cy="1096963"/>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buFont typeface="Wingdings" pitchFamily="2" charset="2"/>
              <a:buChar char="§"/>
              <a:defRPr/>
            </a:pPr>
            <a:r>
              <a:rPr lang="en-US" sz="1100" dirty="0"/>
              <a:t>Both systems to interface are in disconnected landscape and share only 3-4 data elements</a:t>
            </a:r>
          </a:p>
          <a:p>
            <a:pPr>
              <a:buFont typeface="Wingdings" pitchFamily="2" charset="2"/>
              <a:buChar char="§"/>
              <a:defRPr/>
            </a:pPr>
            <a:r>
              <a:rPr lang="en-US" sz="1100" dirty="0"/>
              <a:t>SAGE 100 puts  most of the data manually which does not exist in SAGE 1000</a:t>
            </a:r>
          </a:p>
          <a:p>
            <a:pPr>
              <a:buFont typeface="Wingdings" pitchFamily="2" charset="2"/>
              <a:buChar char="§"/>
              <a:defRPr/>
            </a:pPr>
            <a:r>
              <a:rPr lang="en-US" sz="1100" dirty="0"/>
              <a:t>No documentation of current functionality or implementation guide to understand existing functionality</a:t>
            </a:r>
          </a:p>
          <a:p>
            <a:pPr>
              <a:buFont typeface="Wingdings" pitchFamily="2" charset="2"/>
              <a:buChar char="§"/>
              <a:defRPr/>
            </a:pPr>
            <a:r>
              <a:rPr lang="en-US" sz="1100" dirty="0"/>
              <a:t>No development framework/infrastructure available</a:t>
            </a:r>
          </a:p>
          <a:p>
            <a:pPr>
              <a:buFont typeface="Wingdings" pitchFamily="2" charset="2"/>
              <a:buChar char="§"/>
              <a:defRPr/>
            </a:pPr>
            <a:r>
              <a:rPr lang="en-US" sz="1100" dirty="0"/>
              <a:t>Lack of information about product and its capability</a:t>
            </a:r>
          </a:p>
        </p:txBody>
      </p:sp>
      <p:sp>
        <p:nvSpPr>
          <p:cNvPr id="15" name="AutoShape 36"/>
          <p:cNvSpPr>
            <a:spLocks noChangeArrowheads="1"/>
          </p:cNvSpPr>
          <p:nvPr/>
        </p:nvSpPr>
        <p:spPr bwMode="auto">
          <a:xfrm>
            <a:off x="268288" y="2889250"/>
            <a:ext cx="2222500" cy="1096963"/>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1400" b="1" dirty="0">
                <a:solidFill>
                  <a:schemeClr val="bg1"/>
                </a:solidFill>
              </a:rPr>
              <a:t>Challenges/Risks</a:t>
            </a:r>
            <a:endParaRPr lang="en-US" sz="1400" b="1" dirty="0">
              <a:solidFill>
                <a:schemeClr val="bg1"/>
              </a:solidFill>
            </a:endParaRPr>
          </a:p>
        </p:txBody>
      </p:sp>
      <p:sp>
        <p:nvSpPr>
          <p:cNvPr id="16" name="AutoShape 37"/>
          <p:cNvSpPr>
            <a:spLocks noChangeArrowheads="1"/>
          </p:cNvSpPr>
          <p:nvPr/>
        </p:nvSpPr>
        <p:spPr bwMode="auto">
          <a:xfrm>
            <a:off x="268288" y="4057650"/>
            <a:ext cx="2222500" cy="1096963"/>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endParaRPr lang="pt-BR" sz="1400" b="1" dirty="0">
              <a:solidFill>
                <a:schemeClr val="bg1"/>
              </a:solidFill>
            </a:endParaRPr>
          </a:p>
          <a:p>
            <a:pPr algn="ctr">
              <a:defRPr/>
            </a:pPr>
            <a:r>
              <a:rPr lang="en-US" sz="1400" b="1" dirty="0">
                <a:solidFill>
                  <a:schemeClr val="bg1"/>
                </a:solidFill>
              </a:rPr>
              <a:t>Proposed</a:t>
            </a:r>
            <a:r>
              <a:rPr lang="en-US" sz="1400" dirty="0"/>
              <a:t> </a:t>
            </a:r>
            <a:r>
              <a:rPr lang="en-US" sz="1400" b="1" dirty="0">
                <a:solidFill>
                  <a:schemeClr val="bg1"/>
                </a:solidFill>
              </a:rPr>
              <a:t>Activities</a:t>
            </a:r>
            <a:endParaRPr lang="en-US" sz="1400" b="1" dirty="0">
              <a:solidFill>
                <a:schemeClr val="bg1"/>
              </a:solidFill>
            </a:endParaRPr>
          </a:p>
          <a:p>
            <a:pPr algn="ctr">
              <a:defRPr/>
            </a:pPr>
            <a:endParaRPr lang="en-US" sz="1400" b="1" dirty="0">
              <a:solidFill>
                <a:schemeClr val="bg1"/>
              </a:solidFill>
            </a:endParaRPr>
          </a:p>
        </p:txBody>
      </p:sp>
      <p:sp>
        <p:nvSpPr>
          <p:cNvPr id="17" name="AutoShape 38"/>
          <p:cNvSpPr>
            <a:spLocks noChangeArrowheads="1"/>
          </p:cNvSpPr>
          <p:nvPr/>
        </p:nvSpPr>
        <p:spPr bwMode="auto">
          <a:xfrm>
            <a:off x="268288" y="1706563"/>
            <a:ext cx="2222500" cy="1096962"/>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1400" b="1" dirty="0">
                <a:solidFill>
                  <a:schemeClr val="bg1"/>
                </a:solidFill>
              </a:rPr>
              <a:t>Key</a:t>
            </a:r>
            <a:r>
              <a:rPr lang="en-US" sz="1400" dirty="0">
                <a:solidFill>
                  <a:schemeClr val="bg1"/>
                </a:solidFill>
              </a:rPr>
              <a:t> </a:t>
            </a:r>
            <a:r>
              <a:rPr lang="en-US" sz="1400" b="1" dirty="0">
                <a:solidFill>
                  <a:schemeClr val="bg1"/>
                </a:solidFill>
              </a:rPr>
              <a:t>Recommendations</a:t>
            </a:r>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2"/>
          <p:cNvSpPr>
            <a:spLocks noGrp="1" noChangeArrowheads="1"/>
          </p:cNvSpPr>
          <p:nvPr>
            <p:ph type="title"/>
          </p:nvPr>
        </p:nvSpPr>
        <p:spPr/>
        <p:txBody>
          <a:bodyPr/>
          <a:lstStyle/>
          <a:p>
            <a:r>
              <a:rPr lang="en-US" smtClean="0"/>
              <a:t>Recommendation: </a:t>
            </a:r>
            <a:r>
              <a:rPr lang="en-US" i="1" smtClean="0"/>
              <a:t>Leverage online collaboration tools to </a:t>
            </a:r>
            <a:br>
              <a:rPr lang="en-US" i="1" smtClean="0"/>
            </a:br>
            <a:r>
              <a:rPr lang="en-US" i="1" smtClean="0"/>
              <a:t>strengthen internal communications and information sharing</a:t>
            </a:r>
          </a:p>
        </p:txBody>
      </p:sp>
      <p:graphicFrame>
        <p:nvGraphicFramePr>
          <p:cNvPr id="106532" name="Group 36"/>
          <p:cNvGraphicFramePr>
            <a:graphicFrameLocks noGrp="1"/>
          </p:cNvGraphicFramePr>
          <p:nvPr>
            <p:ph idx="1"/>
          </p:nvPr>
        </p:nvGraphicFramePr>
        <p:xfrm>
          <a:off x="274638" y="1728788"/>
          <a:ext cx="8564562" cy="4873625"/>
        </p:xfrm>
        <a:graphic>
          <a:graphicData uri="http://schemas.openxmlformats.org/drawingml/2006/table">
            <a:tbl>
              <a:tblPr/>
              <a:tblGrid>
                <a:gridCol w="2543175"/>
                <a:gridCol w="2279650"/>
                <a:gridCol w="2030412"/>
                <a:gridCol w="1711325"/>
              </a:tblGrid>
              <a:tr h="346075">
                <a:tc>
                  <a:txBody>
                    <a:bodyPr/>
                    <a:lstStyle/>
                    <a:p>
                      <a:pPr marL="0" marR="0" lvl="0" indent="0" algn="ctr"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600" b="1" i="0" u="none" strike="noStrike" cap="none" normalizeH="0" baseline="0" smtClean="0">
                          <a:ln>
                            <a:noFill/>
                          </a:ln>
                          <a:solidFill>
                            <a:srgbClr val="000066"/>
                          </a:solidFill>
                          <a:effectLst/>
                          <a:latin typeface="Arial" charset="0"/>
                          <a:cs typeface="Arial" charset="0"/>
                        </a:rPr>
                        <a:t>Tool</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600" b="1" i="0" u="none" strike="noStrike" cap="none" normalizeH="0" baseline="0" smtClean="0">
                          <a:ln>
                            <a:noFill/>
                          </a:ln>
                          <a:solidFill>
                            <a:srgbClr val="000066"/>
                          </a:solidFill>
                          <a:effectLst/>
                          <a:latin typeface="Arial" charset="0"/>
                          <a:cs typeface="Arial" charset="0"/>
                        </a:rPr>
                        <a:t>Cos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600" b="1" i="0" u="none" strike="noStrike" cap="none" normalizeH="0" baseline="0" smtClean="0">
                          <a:ln>
                            <a:noFill/>
                          </a:ln>
                          <a:solidFill>
                            <a:srgbClr val="000066"/>
                          </a:solidFill>
                          <a:effectLst/>
                          <a:latin typeface="Arial" charset="0"/>
                          <a:cs typeface="Arial" charset="0"/>
                        </a:rPr>
                        <a:t>Benefit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600" b="1" i="0" u="none" strike="noStrike" cap="none" normalizeH="0" baseline="0" smtClean="0">
                          <a:ln>
                            <a:noFill/>
                          </a:ln>
                          <a:solidFill>
                            <a:srgbClr val="000066"/>
                          </a:solidFill>
                          <a:effectLst/>
                          <a:latin typeface="Arial" charset="0"/>
                          <a:cs typeface="Arial" charset="0"/>
                        </a:rPr>
                        <a:t>Consideration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154113">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600" b="1" i="0" u="none" strike="noStrike" cap="none" normalizeH="0" baseline="0" smtClean="0">
                          <a:ln>
                            <a:noFill/>
                          </a:ln>
                          <a:solidFill>
                            <a:schemeClr val="tx1"/>
                          </a:solidFill>
                          <a:effectLst/>
                          <a:latin typeface="Arial" charset="0"/>
                          <a:cs typeface="Arial" charset="0"/>
                        </a:rPr>
                        <a:t>eXo platform</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200" b="0" i="1" u="none" strike="noStrike" cap="none" normalizeH="0" baseline="0" smtClean="0">
                          <a:ln>
                            <a:noFill/>
                          </a:ln>
                          <a:solidFill>
                            <a:schemeClr val="tx1"/>
                          </a:solidFill>
                          <a:effectLst/>
                          <a:latin typeface="Arial" charset="0"/>
                          <a:cs typeface="Arial" charset="0"/>
                          <a:hlinkClick r:id="rId2"/>
                        </a:rPr>
                        <a:t>www.</a:t>
                      </a:r>
                      <a:r>
                        <a:rPr kumimoji="0" lang="en-US" sz="1200" b="1" i="1" u="none" strike="noStrike" cap="none" normalizeH="0" baseline="0" smtClean="0">
                          <a:ln>
                            <a:noFill/>
                          </a:ln>
                          <a:solidFill>
                            <a:schemeClr val="tx1"/>
                          </a:solidFill>
                          <a:effectLst/>
                          <a:latin typeface="Arial" charset="0"/>
                          <a:cs typeface="Arial" charset="0"/>
                          <a:hlinkClick r:id="rId2"/>
                        </a:rPr>
                        <a:t>exoplatform</a:t>
                      </a:r>
                      <a:r>
                        <a:rPr kumimoji="0" lang="en-US" sz="1200" b="0" i="1" u="none" strike="noStrike" cap="none" normalizeH="0" baseline="0" smtClean="0">
                          <a:ln>
                            <a:noFill/>
                          </a:ln>
                          <a:solidFill>
                            <a:schemeClr val="tx1"/>
                          </a:solidFill>
                          <a:effectLst/>
                          <a:latin typeface="Arial" charset="0"/>
                          <a:cs typeface="Arial" charset="0"/>
                          <a:hlinkClick r:id="rId2"/>
                        </a:rPr>
                        <a:t>.com</a:t>
                      </a:r>
                      <a:endParaRPr kumimoji="0" lang="en-US" sz="1200" b="0" i="1" u="none" strike="noStrike" cap="none" normalizeH="0" baseline="0" smtClean="0">
                        <a:ln>
                          <a:noFill/>
                        </a:ln>
                        <a:solidFill>
                          <a:schemeClr val="tx1"/>
                        </a:solidFill>
                        <a:effectLst/>
                        <a:latin typeface="Arial" charset="0"/>
                        <a:cs typeface="Arial" charset="0"/>
                      </a:endParaRP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600" b="0" i="0" u="none" strike="noStrike" cap="none" normalizeH="0" baseline="0" smtClean="0">
                          <a:ln>
                            <a:noFill/>
                          </a:ln>
                          <a:solidFill>
                            <a:schemeClr val="tx1"/>
                          </a:solidFill>
                          <a:effectLst/>
                          <a:latin typeface="Arial" charset="0"/>
                          <a:cs typeface="Arial" charset="0"/>
                        </a:rPr>
                        <a:t> </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
                        <a:tabLst/>
                      </a:pPr>
                      <a:r>
                        <a:rPr kumimoji="0" lang="en-US" sz="1400" b="0" i="0" u="none" strike="noStrike" cap="none" normalizeH="0" baseline="0" smtClean="0">
                          <a:ln>
                            <a:noFill/>
                          </a:ln>
                          <a:solidFill>
                            <a:schemeClr val="tx1"/>
                          </a:solidFill>
                          <a:effectLst/>
                          <a:latin typeface="Arial" charset="0"/>
                          <a:cs typeface="Arial" charset="0"/>
                        </a:rPr>
                        <a:t>$0 for starter; storage up to 5GB; up to 25 personnel</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
                        <a:tabLst/>
                      </a:pPr>
                      <a:r>
                        <a:rPr kumimoji="0" lang="en-US" sz="1400" b="0" i="0" u="none" strike="noStrike" cap="none" normalizeH="0" baseline="0" smtClean="0">
                          <a:ln>
                            <a:noFill/>
                          </a:ln>
                          <a:solidFill>
                            <a:schemeClr val="tx1"/>
                          </a:solidFill>
                          <a:effectLst/>
                          <a:latin typeface="Arial" charset="0"/>
                          <a:cs typeface="Arial" charset="0"/>
                        </a:rPr>
                        <a:t>$3 per month per user; storage up to 1GB per user, help desk suppor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ü"/>
                        <a:tabLst/>
                      </a:pPr>
                      <a:r>
                        <a:rPr kumimoji="0" lang="en-US" sz="1400" b="0" i="0" u="none" strike="noStrike" cap="none" normalizeH="0" baseline="0" smtClean="0">
                          <a:ln>
                            <a:noFill/>
                          </a:ln>
                          <a:solidFill>
                            <a:schemeClr val="tx1"/>
                          </a:solidFill>
                          <a:effectLst/>
                          <a:latin typeface="Arial" charset="0"/>
                          <a:cs typeface="Arial" charset="0"/>
                        </a:rPr>
                        <a:t> Open source</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ü"/>
                        <a:tabLst/>
                      </a:pPr>
                      <a:r>
                        <a:rPr kumimoji="0" lang="en-US" sz="1400" b="0" i="0" u="none" strike="noStrike" cap="none" normalizeH="0" baseline="0" smtClean="0">
                          <a:ln>
                            <a:noFill/>
                          </a:ln>
                          <a:solidFill>
                            <a:schemeClr val="tx1"/>
                          </a:solidFill>
                          <a:effectLst/>
                          <a:latin typeface="Arial" charset="0"/>
                          <a:cs typeface="Arial" charset="0"/>
                        </a:rPr>
                        <a:t> No cost/low cost</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endParaRPr kumimoji="0" lang="en-US" sz="1400" b="0" i="0" u="none" strike="noStrike" cap="none" normalizeH="0" baseline="0" smtClean="0">
                        <a:ln>
                          <a:noFill/>
                        </a:ln>
                        <a:solidFill>
                          <a:schemeClr val="tx1"/>
                        </a:solidFill>
                        <a:effectLst/>
                        <a:latin typeface="Arial" charset="0"/>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
                        <a:tabLst/>
                      </a:pPr>
                      <a:r>
                        <a:rPr kumimoji="0" lang="en-US" sz="1400" b="0" i="0" u="none" strike="noStrike" cap="none" normalizeH="0" baseline="0" smtClean="0">
                          <a:ln>
                            <a:noFill/>
                          </a:ln>
                          <a:solidFill>
                            <a:schemeClr val="tx1"/>
                          </a:solidFill>
                          <a:effectLst/>
                          <a:latin typeface="Arial" charset="0"/>
                          <a:cs typeface="Arial" charset="0"/>
                        </a:rPr>
                        <a:t>Basic ‘starter’ access requires IT expertise from ALCS for maintenance &amp; support</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
                        <a:tabLst/>
                      </a:pPr>
                      <a:endParaRPr kumimoji="0" lang="en-US" sz="1400" b="0" i="0" u="none" strike="noStrike" cap="none" normalizeH="0" baseline="0" smtClean="0">
                        <a:ln>
                          <a:noFill/>
                        </a:ln>
                        <a:solidFill>
                          <a:schemeClr val="tx1"/>
                        </a:solidFill>
                        <a:effectLst/>
                        <a:latin typeface="Arial" charset="0"/>
                        <a:cs typeface="Arial"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120775">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600" b="1" i="0" u="none" strike="noStrike" cap="none" normalizeH="0" baseline="0" smtClean="0">
                          <a:ln>
                            <a:noFill/>
                          </a:ln>
                          <a:solidFill>
                            <a:schemeClr val="tx1"/>
                          </a:solidFill>
                          <a:effectLst/>
                          <a:latin typeface="Arial" charset="0"/>
                          <a:cs typeface="Arial" charset="0"/>
                        </a:rPr>
                        <a:t>Office 365</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200" b="1" i="1" u="none" strike="noStrike" cap="none" normalizeH="0" baseline="0" smtClean="0">
                          <a:ln>
                            <a:noFill/>
                          </a:ln>
                          <a:solidFill>
                            <a:schemeClr val="tx1"/>
                          </a:solidFill>
                          <a:effectLst/>
                          <a:latin typeface="Arial" charset="0"/>
                          <a:cs typeface="Arial" charset="0"/>
                          <a:hlinkClick r:id="rId3"/>
                        </a:rPr>
                        <a:t>http://www.microsoft.com/about/corporatecitizenship/en-us/office365-for-nonprofits/</a:t>
                      </a:r>
                      <a:endParaRPr kumimoji="0" lang="en-US" sz="1200" b="1" i="1" u="none" strike="noStrike" cap="none" normalizeH="0" baseline="0" smtClean="0">
                        <a:ln>
                          <a:noFill/>
                        </a:ln>
                        <a:solidFill>
                          <a:schemeClr val="tx1"/>
                        </a:solidFill>
                        <a:effectLst/>
                        <a:latin typeface="Arial" charset="0"/>
                        <a:cs typeface="Arial" charset="0"/>
                      </a:endParaRP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endParaRPr kumimoji="0" lang="en-US" sz="1200" b="1" i="1" u="none" strike="noStrike" cap="none" normalizeH="0" baseline="0" smtClean="0">
                        <a:ln>
                          <a:noFill/>
                        </a:ln>
                        <a:solidFill>
                          <a:schemeClr val="tx1"/>
                        </a:solidFill>
                        <a:effectLst/>
                        <a:latin typeface="Arial" charset="0"/>
                        <a:cs typeface="Arial"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
                        <a:tabLst/>
                      </a:pPr>
                      <a:r>
                        <a:rPr kumimoji="0" lang="en-US" sz="1400" b="0" i="0" u="none" strike="noStrike" cap="none" normalizeH="0" baseline="0" smtClean="0">
                          <a:ln>
                            <a:noFill/>
                          </a:ln>
                          <a:solidFill>
                            <a:schemeClr val="tx1"/>
                          </a:solidFill>
                          <a:effectLst/>
                          <a:latin typeface="Arial" charset="0"/>
                          <a:cs typeface="Arial" charset="0"/>
                        </a:rPr>
                        <a:t>ALCS is eligible for non-profit program</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
                        <a:tabLst/>
                      </a:pPr>
                      <a:r>
                        <a:rPr kumimoji="0" lang="en-US" sz="1400" b="0" i="0" u="none" strike="noStrike" cap="none" normalizeH="0" baseline="0" smtClean="0">
                          <a:ln>
                            <a:noFill/>
                          </a:ln>
                          <a:solidFill>
                            <a:schemeClr val="tx1"/>
                          </a:solidFill>
                          <a:effectLst/>
                          <a:latin typeface="Arial" charset="0"/>
                          <a:cs typeface="Arial" charset="0"/>
                        </a:rPr>
                        <a:t>$0 to xx cost per user per month, depending on selected features, number of users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ü"/>
                        <a:tabLst/>
                      </a:pPr>
                      <a:r>
                        <a:rPr kumimoji="0" lang="en-US" sz="1400" b="0" i="0" u="none" strike="noStrike" cap="none" normalizeH="0" baseline="0" smtClean="0">
                          <a:ln>
                            <a:noFill/>
                          </a:ln>
                          <a:solidFill>
                            <a:schemeClr val="tx1"/>
                          </a:solidFill>
                          <a:effectLst/>
                          <a:latin typeface="Arial" charset="0"/>
                          <a:cs typeface="Arial" charset="0"/>
                        </a:rPr>
                        <a:t>Similar to platform already in use</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ü"/>
                        <a:tabLst/>
                      </a:pPr>
                      <a:r>
                        <a:rPr kumimoji="0" lang="en-US" sz="1400" b="0" i="0" u="none" strike="noStrike" cap="none" normalizeH="0" baseline="0" smtClean="0">
                          <a:ln>
                            <a:noFill/>
                          </a:ln>
                          <a:solidFill>
                            <a:schemeClr val="tx1"/>
                          </a:solidFill>
                          <a:effectLst/>
                          <a:latin typeface="Arial" charset="0"/>
                          <a:cs typeface="Arial" charset="0"/>
                        </a:rPr>
                        <a:t> Shorter learning curve</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ü"/>
                        <a:tabLst/>
                      </a:pPr>
                      <a:r>
                        <a:rPr kumimoji="0" lang="en-US" sz="1400" b="0" i="0" u="none" strike="noStrike" cap="none" normalizeH="0" baseline="0" smtClean="0">
                          <a:ln>
                            <a:noFill/>
                          </a:ln>
                          <a:solidFill>
                            <a:schemeClr val="tx1"/>
                          </a:solidFill>
                          <a:effectLst/>
                          <a:latin typeface="Arial" charset="0"/>
                          <a:cs typeface="Arial" charset="0"/>
                        </a:rPr>
                        <a:t> Better integration</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ü"/>
                        <a:tabLst/>
                      </a:pPr>
                      <a:r>
                        <a:rPr kumimoji="0" lang="en-US" sz="1400" b="0" i="0" u="none" strike="noStrike" cap="none" normalizeH="0" baseline="0" smtClean="0">
                          <a:ln>
                            <a:noFill/>
                          </a:ln>
                          <a:solidFill>
                            <a:schemeClr val="tx1"/>
                          </a:solidFill>
                          <a:effectLst/>
                          <a:latin typeface="Arial" charset="0"/>
                          <a:cs typeface="Arial" charset="0"/>
                        </a:rPr>
                        <a:t> No cost/ low cos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
                        <a:tabLst/>
                      </a:pPr>
                      <a:r>
                        <a:rPr kumimoji="0" lang="en-US" sz="1400" b="0" i="0" u="none" strike="noStrike" cap="none" normalizeH="0" baseline="0" smtClean="0">
                          <a:ln>
                            <a:noFill/>
                          </a:ln>
                          <a:solidFill>
                            <a:schemeClr val="tx1"/>
                          </a:solidFill>
                          <a:effectLst/>
                          <a:latin typeface="Arial" charset="0"/>
                          <a:cs typeface="Arial" charset="0"/>
                        </a:rPr>
                        <a:t>Requires evaluation for eligibility every 2 years. </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endParaRPr kumimoji="0" lang="en-US" sz="1400" b="0" i="0" u="none" strike="noStrike" cap="none" normalizeH="0" baseline="0" smtClean="0">
                        <a:ln>
                          <a:noFill/>
                        </a:ln>
                        <a:solidFill>
                          <a:schemeClr val="tx1"/>
                        </a:solidFill>
                        <a:effectLst/>
                        <a:latin typeface="Arial" charset="0"/>
                        <a:cs typeface="Arial"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119188">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600" b="1" i="0" u="none" strike="noStrike" cap="none" normalizeH="0" baseline="0" smtClean="0">
                          <a:ln>
                            <a:noFill/>
                          </a:ln>
                          <a:solidFill>
                            <a:schemeClr val="tx1"/>
                          </a:solidFill>
                          <a:effectLst/>
                          <a:latin typeface="Arial" charset="0"/>
                          <a:cs typeface="Arial" charset="0"/>
                        </a:rPr>
                        <a:t>Google Apps</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r>
                        <a:rPr kumimoji="0" lang="en-US" sz="1200" b="1" i="1" u="none" strike="noStrike" cap="none" normalizeH="0" baseline="0" smtClean="0">
                          <a:ln>
                            <a:noFill/>
                          </a:ln>
                          <a:solidFill>
                            <a:schemeClr val="tx1"/>
                          </a:solidFill>
                          <a:effectLst/>
                          <a:latin typeface="Arial" charset="0"/>
                          <a:cs typeface="Arial" charset="0"/>
                          <a:hlinkClick r:id="rId4"/>
                        </a:rPr>
                        <a:t>www.google.com/nonprofits/products/</a:t>
                      </a:r>
                      <a:endParaRPr kumimoji="0" lang="en-US" sz="1200" b="1" i="1" u="none" strike="noStrike" cap="none" normalizeH="0" baseline="0" smtClean="0">
                        <a:ln>
                          <a:noFill/>
                        </a:ln>
                        <a:solidFill>
                          <a:schemeClr val="tx1"/>
                        </a:solidFill>
                        <a:effectLst/>
                        <a:latin typeface="Arial" charset="0"/>
                        <a:cs typeface="Arial" charset="0"/>
                      </a:endParaRP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endParaRPr kumimoji="0" lang="en-US" sz="1200" b="1" i="1" u="none" strike="noStrike" cap="none" normalizeH="0" baseline="0" smtClean="0">
                        <a:ln>
                          <a:noFill/>
                        </a:ln>
                        <a:solidFill>
                          <a:schemeClr val="tx1"/>
                        </a:solidFill>
                        <a:effectLst/>
                        <a:latin typeface="Arial" charset="0"/>
                        <a:cs typeface="Arial"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
                        <a:tabLst/>
                      </a:pPr>
                      <a:r>
                        <a:rPr kumimoji="0" lang="en-US" sz="1400" b="0" i="0" u="none" strike="noStrike" cap="none" normalizeH="0" baseline="0" smtClean="0">
                          <a:ln>
                            <a:noFill/>
                          </a:ln>
                          <a:solidFill>
                            <a:schemeClr val="tx1"/>
                          </a:solidFill>
                          <a:effectLst/>
                          <a:latin typeface="Arial" charset="0"/>
                          <a:cs typeface="Arial" charset="0"/>
                        </a:rPr>
                        <a:t>$0 cost for members of Google nonprofits; up to 30GB of storage across Gmail and Google Drive</a:t>
                      </a:r>
                      <a:r>
                        <a:rPr kumimoji="0" lang="en-US" sz="1600" b="0" i="0" u="none" strike="noStrike" cap="none" normalizeH="0" baseline="0" smtClean="0">
                          <a:ln>
                            <a:noFill/>
                          </a:ln>
                          <a:solidFill>
                            <a:schemeClr val="tx1"/>
                          </a:solidFill>
                          <a:effectLst/>
                          <a:latin typeface="Arial" charset="0"/>
                          <a:cs typeface="Arial" charset="0"/>
                        </a:rPr>
                        <a:t>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ü"/>
                        <a:tabLst/>
                      </a:pPr>
                      <a:r>
                        <a:rPr kumimoji="0" lang="en-US" sz="1400" b="0" i="0" u="none" strike="noStrike" cap="none" normalizeH="0" baseline="0" smtClean="0">
                          <a:ln>
                            <a:noFill/>
                          </a:ln>
                          <a:solidFill>
                            <a:schemeClr val="tx1"/>
                          </a:solidFill>
                          <a:effectLst/>
                          <a:latin typeface="Arial" charset="0"/>
                          <a:cs typeface="Arial" charset="0"/>
                        </a:rPr>
                        <a:t> Easy to use</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ü"/>
                        <a:tabLst/>
                      </a:pPr>
                      <a:r>
                        <a:rPr kumimoji="0" lang="en-US" sz="1400" b="0" i="0" u="none" strike="noStrike" cap="none" normalizeH="0" baseline="0" smtClean="0">
                          <a:ln>
                            <a:noFill/>
                          </a:ln>
                          <a:solidFill>
                            <a:schemeClr val="tx1"/>
                          </a:solidFill>
                          <a:effectLst/>
                          <a:latin typeface="Arial" charset="0"/>
                          <a:cs typeface="Arial" charset="0"/>
                        </a:rPr>
                        <a:t> Low cost</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None/>
                        <a:tabLst/>
                      </a:pPr>
                      <a:endParaRPr kumimoji="0" lang="en-US" sz="1400" b="0" i="0" u="none" strike="noStrike" cap="none" normalizeH="0" baseline="0" smtClean="0">
                        <a:ln>
                          <a:noFill/>
                        </a:ln>
                        <a:solidFill>
                          <a:schemeClr val="tx1"/>
                        </a:solidFill>
                        <a:effectLst/>
                        <a:latin typeface="Arial" charset="0"/>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
                        <a:tabLst/>
                      </a:pPr>
                      <a:r>
                        <a:rPr kumimoji="0" lang="en-US" sz="1400" b="0" i="0" u="none" strike="noStrike" cap="none" normalizeH="0" baseline="0" smtClean="0">
                          <a:ln>
                            <a:noFill/>
                          </a:ln>
                          <a:solidFill>
                            <a:schemeClr val="tx1"/>
                          </a:solidFill>
                          <a:effectLst/>
                          <a:latin typeface="Arial" charset="0"/>
                          <a:cs typeface="Arial" charset="0"/>
                        </a:rPr>
                        <a:t>Compatability issues with MS Office</a:t>
                      </a:r>
                    </a:p>
                    <a:p>
                      <a:pPr marL="0" marR="0" lvl="0" indent="0" algn="l" defTabSz="914400" rtl="0" eaLnBrk="0" fontAlgn="base" latinLnBrk="0" hangingPunct="0">
                        <a:lnSpc>
                          <a:spcPct val="100000"/>
                        </a:lnSpc>
                        <a:spcBef>
                          <a:spcPct val="20000"/>
                        </a:spcBef>
                        <a:spcAft>
                          <a:spcPct val="0"/>
                        </a:spcAft>
                        <a:buClr>
                          <a:schemeClr val="hlink"/>
                        </a:buClr>
                        <a:buSzTx/>
                        <a:buFont typeface="Wingdings" pitchFamily="2" charset="2"/>
                        <a:buChar char="§"/>
                        <a:tabLst/>
                      </a:pPr>
                      <a:r>
                        <a:rPr kumimoji="0" lang="en-US" sz="1400" b="0" i="0" u="none" strike="noStrike" cap="none" normalizeH="0" baseline="0" smtClean="0">
                          <a:ln>
                            <a:noFill/>
                          </a:ln>
                          <a:solidFill>
                            <a:schemeClr val="tx1"/>
                          </a:solidFill>
                          <a:effectLst/>
                          <a:latin typeface="Arial" charset="0"/>
                          <a:cs typeface="Arial" charset="0"/>
                        </a:rPr>
                        <a:t>Requires membership to Google nonprofit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2"/>
          <p:cNvSpPr>
            <a:spLocks noGrp="1" noChangeArrowheads="1"/>
          </p:cNvSpPr>
          <p:nvPr>
            <p:ph type="title" idx="4294967295"/>
          </p:nvPr>
        </p:nvSpPr>
        <p:spPr/>
        <p:txBody>
          <a:bodyPr/>
          <a:lstStyle/>
          <a:p>
            <a:r>
              <a:rPr lang="en-US" sz="1800" smtClean="0"/>
              <a:t>Fundraising Recommendations:</a:t>
            </a:r>
            <a:br>
              <a:rPr lang="en-US" sz="1800" smtClean="0"/>
            </a:br>
            <a:r>
              <a:rPr lang="en-US" sz="1800" i="1" smtClean="0"/>
              <a:t>Optimize donor database to effectively address potential funding sources</a:t>
            </a:r>
          </a:p>
        </p:txBody>
      </p:sp>
      <p:sp>
        <p:nvSpPr>
          <p:cNvPr id="80898" name="Rectangle 3"/>
          <p:cNvSpPr>
            <a:spLocks noGrp="1" noChangeArrowheads="1"/>
          </p:cNvSpPr>
          <p:nvPr>
            <p:ph type="body" idx="4294967295"/>
          </p:nvPr>
        </p:nvSpPr>
        <p:spPr>
          <a:xfrm>
            <a:off x="274638" y="1295400"/>
            <a:ext cx="8564562" cy="4479925"/>
          </a:xfrm>
        </p:spPr>
        <p:txBody>
          <a:bodyPr/>
          <a:lstStyle/>
          <a:p>
            <a:pPr>
              <a:lnSpc>
                <a:spcPct val="90000"/>
              </a:lnSpc>
              <a:buFont typeface="Wingdings" pitchFamily="2" charset="2"/>
              <a:buNone/>
            </a:pPr>
            <a:endParaRPr lang="en-US" smtClean="0"/>
          </a:p>
          <a:p>
            <a:pPr>
              <a:lnSpc>
                <a:spcPct val="90000"/>
              </a:lnSpc>
              <a:buFont typeface="Wingdings" pitchFamily="2" charset="2"/>
              <a:buNone/>
            </a:pPr>
            <a:r>
              <a:rPr lang="en-US" sz="1600" b="1" smtClean="0"/>
              <a:t>Key Recommendations:</a:t>
            </a:r>
          </a:p>
          <a:p>
            <a:pPr>
              <a:lnSpc>
                <a:spcPct val="90000"/>
              </a:lnSpc>
            </a:pPr>
            <a:r>
              <a:rPr lang="de-CH" b="1" smtClean="0">
                <a:solidFill>
                  <a:srgbClr val="7889FB"/>
                </a:solidFill>
              </a:rPr>
              <a:t>Optimize donor database</a:t>
            </a:r>
            <a:r>
              <a:rPr lang="de-CH" smtClean="0"/>
              <a:t> (on MS Access base):</a:t>
            </a:r>
          </a:p>
          <a:p>
            <a:pPr lvl="1">
              <a:lnSpc>
                <a:spcPct val="90000"/>
              </a:lnSpc>
            </a:pPr>
            <a:r>
              <a:rPr lang="de-CH" b="1" smtClean="0"/>
              <a:t>Normalize</a:t>
            </a:r>
            <a:r>
              <a:rPr lang="de-CH" smtClean="0"/>
              <a:t> tables</a:t>
            </a:r>
          </a:p>
          <a:p>
            <a:pPr lvl="1">
              <a:lnSpc>
                <a:spcPct val="90000"/>
              </a:lnSpc>
            </a:pPr>
            <a:r>
              <a:rPr lang="de-CH" smtClean="0"/>
              <a:t>Excel </a:t>
            </a:r>
            <a:r>
              <a:rPr lang="de-CH" b="1" smtClean="0"/>
              <a:t>data import</a:t>
            </a:r>
            <a:r>
              <a:rPr lang="de-CH" smtClean="0"/>
              <a:t> feature</a:t>
            </a:r>
          </a:p>
          <a:p>
            <a:pPr lvl="1">
              <a:lnSpc>
                <a:spcPct val="90000"/>
              </a:lnSpc>
            </a:pPr>
            <a:r>
              <a:rPr lang="de-CH" b="1" smtClean="0"/>
              <a:t>GUIs</a:t>
            </a:r>
            <a:r>
              <a:rPr lang="de-CH" smtClean="0"/>
              <a:t> (screens) to work efficiently with the data</a:t>
            </a:r>
          </a:p>
          <a:p>
            <a:pPr lvl="1">
              <a:lnSpc>
                <a:spcPct val="90000"/>
              </a:lnSpc>
            </a:pPr>
            <a:r>
              <a:rPr lang="de-CH" smtClean="0"/>
              <a:t>Programmatically identify and clean </a:t>
            </a:r>
            <a:r>
              <a:rPr lang="de-CH" b="1" smtClean="0"/>
              <a:t>duplicate donor entries</a:t>
            </a:r>
          </a:p>
          <a:p>
            <a:pPr lvl="1">
              <a:lnSpc>
                <a:spcPct val="90000"/>
              </a:lnSpc>
            </a:pPr>
            <a:r>
              <a:rPr lang="de-CH" smtClean="0"/>
              <a:t>Provide </a:t>
            </a:r>
            <a:r>
              <a:rPr lang="de-CH" b="1" smtClean="0"/>
              <a:t>Reportings</a:t>
            </a:r>
            <a:endParaRPr lang="en-US" b="1" smtClean="0"/>
          </a:p>
          <a:p>
            <a:pPr>
              <a:lnSpc>
                <a:spcPct val="90000"/>
              </a:lnSpc>
            </a:pPr>
            <a:r>
              <a:rPr lang="en-US" b="1" smtClean="0">
                <a:solidFill>
                  <a:srgbClr val="7889FB"/>
                </a:solidFill>
              </a:rPr>
              <a:t>Analyze current donor population</a:t>
            </a:r>
            <a:r>
              <a:rPr lang="en-US" smtClean="0"/>
              <a:t> demographics and level of support to target future funders</a:t>
            </a:r>
          </a:p>
          <a:p>
            <a:pPr>
              <a:lnSpc>
                <a:spcPct val="90000"/>
              </a:lnSpc>
              <a:buFont typeface="Wingdings" pitchFamily="2" charset="2"/>
              <a:buNone/>
            </a:pPr>
            <a:endParaRPr lang="en-US" smtClean="0"/>
          </a:p>
          <a:p>
            <a:pPr>
              <a:lnSpc>
                <a:spcPct val="90000"/>
              </a:lnSpc>
              <a:buFont typeface="Wingdings" pitchFamily="2" charset="2"/>
              <a:buNone/>
            </a:pPr>
            <a:r>
              <a:rPr lang="en-US" sz="1600" b="1" smtClean="0"/>
              <a:t>Proposed Activities:</a:t>
            </a:r>
          </a:p>
          <a:p>
            <a:pPr>
              <a:lnSpc>
                <a:spcPct val="90000"/>
              </a:lnSpc>
            </a:pPr>
            <a:r>
              <a:rPr lang="de-CH" sz="1200" smtClean="0"/>
              <a:t>Document business requirements / initiate request for proposal</a:t>
            </a:r>
          </a:p>
          <a:p>
            <a:pPr>
              <a:lnSpc>
                <a:spcPct val="90000"/>
              </a:lnSpc>
            </a:pPr>
            <a:endParaRPr lang="en-US" sz="1600" b="1" smtClean="0"/>
          </a:p>
          <a:p>
            <a:pPr>
              <a:lnSpc>
                <a:spcPct val="90000"/>
              </a:lnSpc>
              <a:buFont typeface="Wingdings" pitchFamily="2" charset="2"/>
              <a:buNone/>
            </a:pPr>
            <a:r>
              <a:rPr lang="en-US" sz="1600" b="1" smtClean="0"/>
              <a:t>Impact:</a:t>
            </a:r>
          </a:p>
          <a:p>
            <a:pPr>
              <a:lnSpc>
                <a:spcPct val="90000"/>
              </a:lnSpc>
            </a:pPr>
            <a:r>
              <a:rPr lang="de-CH" sz="1200" smtClean="0"/>
              <a:t>Improved time efficiency</a:t>
            </a:r>
          </a:p>
          <a:p>
            <a:pPr>
              <a:lnSpc>
                <a:spcPct val="90000"/>
              </a:lnSpc>
            </a:pPr>
            <a:r>
              <a:rPr lang="de-CH" sz="1200" smtClean="0"/>
              <a:t>Personalized fund raising possibilities</a:t>
            </a:r>
            <a:endParaRPr lang="en-US" sz="1200" smtClean="0"/>
          </a:p>
          <a:p>
            <a:pPr lvl="1">
              <a:lnSpc>
                <a:spcPct val="90000"/>
              </a:lnSpc>
              <a:buFont typeface="Arial" charset="0"/>
              <a:buNone/>
            </a:pPr>
            <a:endParaRPr lang="en-US" sz="1200" smtClean="0"/>
          </a:p>
          <a:p>
            <a:pPr>
              <a:lnSpc>
                <a:spcPct val="90000"/>
              </a:lnSpc>
            </a:pPr>
            <a:endParaRPr lang="en-US" sz="1100" smtClean="0"/>
          </a:p>
        </p:txBody>
      </p:sp>
      <p:pic>
        <p:nvPicPr>
          <p:cNvPr id="122884" name="Picture 14" descr="budget1"/>
          <p:cNvPicPr>
            <a:picLocks noChangeAspect="1" noChangeArrowheads="1"/>
          </p:cNvPicPr>
          <p:nvPr/>
        </p:nvPicPr>
        <p:blipFill>
          <a:blip r:embed="rId2"/>
          <a:srcRect/>
          <a:stretch>
            <a:fillRect/>
          </a:stretch>
        </p:blipFill>
        <p:spPr bwMode="auto">
          <a:xfrm>
            <a:off x="7375525" y="5073650"/>
            <a:ext cx="1463675" cy="10191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Title 1"/>
          <p:cNvSpPr>
            <a:spLocks noGrp="1"/>
          </p:cNvSpPr>
          <p:nvPr>
            <p:ph type="title" idx="4294967295"/>
          </p:nvPr>
        </p:nvSpPr>
        <p:spPr/>
        <p:txBody>
          <a:bodyPr/>
          <a:lstStyle/>
          <a:p>
            <a:r>
              <a:rPr lang="de-CH" smtClean="0"/>
              <a:t>Donor Database Optimization Recommendation</a:t>
            </a:r>
            <a:endParaRPr lang="en-US" smtClean="0"/>
          </a:p>
        </p:txBody>
      </p:sp>
      <p:sp>
        <p:nvSpPr>
          <p:cNvPr id="4" name="Slide Number Placeholder 3"/>
          <p:cNvSpPr txBox="1">
            <a:spLocks noGrp="1"/>
          </p:cNvSpPr>
          <p:nvPr/>
        </p:nvSpPr>
        <p:spPr bwMode="black">
          <a:xfrm>
            <a:off x="182563" y="6537325"/>
            <a:ext cx="366712" cy="184150"/>
          </a:xfrm>
          <a:prstGeom prst="rect">
            <a:avLst/>
          </a:prstGeom>
          <a:noFill/>
          <a:ln>
            <a:miter lim="800000"/>
            <a:headEnd/>
            <a:tailEnd/>
          </a:ln>
        </p:spPr>
        <p:txBody>
          <a:bodyPr lIns="92075" tIns="46038" rIns="92075" bIns="46038"/>
          <a:lstStyle/>
          <a:p>
            <a:pPr fontAlgn="auto">
              <a:spcBef>
                <a:spcPts val="0"/>
              </a:spcBef>
              <a:spcAft>
                <a:spcPts val="0"/>
              </a:spcAft>
              <a:defRPr/>
            </a:pPr>
            <a:fld id="{0B06B643-893E-4CEC-9036-FD4E01083671}" type="slidenum">
              <a:rPr lang="en-US" sz="800">
                <a:latin typeface="+mn-lt"/>
                <a:cs typeface="+mn-cs"/>
              </a:rPr>
              <a:pPr fontAlgn="auto">
                <a:spcBef>
                  <a:spcPts val="0"/>
                </a:spcBef>
                <a:spcAft>
                  <a:spcPts val="0"/>
                </a:spcAft>
                <a:defRPr/>
              </a:pPr>
              <a:t>49</a:t>
            </a:fld>
            <a:endParaRPr lang="en-US" sz="800">
              <a:latin typeface="+mn-lt"/>
              <a:cs typeface="+mn-cs"/>
            </a:endParaRPr>
          </a:p>
        </p:txBody>
      </p:sp>
      <p:sp>
        <p:nvSpPr>
          <p:cNvPr id="31" name="Flowchart: Magnetic Disk 30"/>
          <p:cNvSpPr/>
          <p:nvPr/>
        </p:nvSpPr>
        <p:spPr>
          <a:xfrm>
            <a:off x="4338638" y="2165350"/>
            <a:ext cx="1512887" cy="1295400"/>
          </a:xfrm>
          <a:prstGeom prst="flowChartMagneticDisk">
            <a:avLst/>
          </a:prstGeom>
          <a:ln/>
        </p:spPr>
        <p:style>
          <a:lnRef idx="1">
            <a:schemeClr val="dk1"/>
          </a:lnRef>
          <a:fillRef idx="2">
            <a:schemeClr val="dk1"/>
          </a:fillRef>
          <a:effectRef idx="1">
            <a:schemeClr val="dk1"/>
          </a:effectRef>
          <a:fontRef idx="minor">
            <a:schemeClr val="dk1"/>
          </a:fontRef>
        </p:style>
        <p:txBody>
          <a:bodyPr anchor="ctr"/>
          <a:lstStyle/>
          <a:p>
            <a:pPr algn="ctr">
              <a:defRPr/>
            </a:pPr>
            <a:endParaRPr lang="en-US"/>
          </a:p>
        </p:txBody>
      </p:sp>
      <p:sp>
        <p:nvSpPr>
          <p:cNvPr id="32" name="Flowchart: Internal Storage 31"/>
          <p:cNvSpPr/>
          <p:nvPr/>
        </p:nvSpPr>
        <p:spPr>
          <a:xfrm>
            <a:off x="4554538" y="2633663"/>
            <a:ext cx="360362" cy="250825"/>
          </a:xfrm>
          <a:prstGeom prst="flowChartInternalStorag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3" name="Flowchart: Internal Storage 32"/>
          <p:cNvSpPr/>
          <p:nvPr/>
        </p:nvSpPr>
        <p:spPr>
          <a:xfrm>
            <a:off x="5238750" y="2633663"/>
            <a:ext cx="360363" cy="250825"/>
          </a:xfrm>
          <a:prstGeom prst="flowChartInternalStorag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4" name="Flowchart: Internal Storage 33"/>
          <p:cNvSpPr/>
          <p:nvPr/>
        </p:nvSpPr>
        <p:spPr>
          <a:xfrm>
            <a:off x="4554538" y="3022600"/>
            <a:ext cx="360362" cy="250825"/>
          </a:xfrm>
          <a:prstGeom prst="flowChartInternalStorag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5" name="Flowchart: Internal Storage 34"/>
          <p:cNvSpPr/>
          <p:nvPr/>
        </p:nvSpPr>
        <p:spPr>
          <a:xfrm>
            <a:off x="5238750" y="3022600"/>
            <a:ext cx="360363" cy="250825"/>
          </a:xfrm>
          <a:prstGeom prst="flowChartInternalStorag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6" name="Folded Corner 35"/>
          <p:cNvSpPr/>
          <p:nvPr/>
        </p:nvSpPr>
        <p:spPr>
          <a:xfrm>
            <a:off x="6715125" y="2270125"/>
            <a:ext cx="576263" cy="360363"/>
          </a:xfrm>
          <a:prstGeom prst="foldedCorner">
            <a:avLst/>
          </a:prstGeom>
          <a:ln/>
        </p:spPr>
        <p:style>
          <a:lnRef idx="1">
            <a:schemeClr val="accent2"/>
          </a:lnRef>
          <a:fillRef idx="3">
            <a:schemeClr val="accent2"/>
          </a:fillRef>
          <a:effectRef idx="2">
            <a:schemeClr val="accent2"/>
          </a:effectRef>
          <a:fontRef idx="minor">
            <a:schemeClr val="lt1"/>
          </a:fontRef>
        </p:style>
        <p:txBody>
          <a:bodyPr anchor="ctr"/>
          <a:lstStyle/>
          <a:p>
            <a:pPr algn="ctr">
              <a:defRPr/>
            </a:pPr>
            <a:endParaRPr lang="en-US"/>
          </a:p>
        </p:txBody>
      </p:sp>
      <p:sp>
        <p:nvSpPr>
          <p:cNvPr id="37" name="Rectangle 36"/>
          <p:cNvSpPr/>
          <p:nvPr/>
        </p:nvSpPr>
        <p:spPr>
          <a:xfrm>
            <a:off x="292100" y="4010025"/>
            <a:ext cx="4679950" cy="2490788"/>
          </a:xfrm>
          <a:prstGeom prst="rect">
            <a:avLst/>
          </a:prstGeom>
          <a:solidFill>
            <a:schemeClr val="bg1"/>
          </a:solid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23915" name="TextBox 10"/>
          <p:cNvSpPr txBox="1">
            <a:spLocks noChangeArrowheads="1"/>
          </p:cNvSpPr>
          <p:nvPr/>
        </p:nvSpPr>
        <p:spPr bwMode="auto">
          <a:xfrm>
            <a:off x="363538" y="4518025"/>
            <a:ext cx="1871662" cy="1168400"/>
          </a:xfrm>
          <a:prstGeom prst="rect">
            <a:avLst/>
          </a:prstGeom>
          <a:solidFill>
            <a:schemeClr val="bg1"/>
          </a:solidFill>
          <a:ln w="9525">
            <a:solidFill>
              <a:schemeClr val="tx1"/>
            </a:solidFill>
            <a:miter lim="800000"/>
            <a:headEnd/>
            <a:tailEnd/>
          </a:ln>
        </p:spPr>
        <p:txBody>
          <a:bodyPr>
            <a:spAutoFit/>
          </a:bodyPr>
          <a:lstStyle/>
          <a:p>
            <a:r>
              <a:rPr lang="de-CH" altLang="en-US" sz="1400" u="sng"/>
              <a:t>Donor’s Details</a:t>
            </a:r>
          </a:p>
          <a:p>
            <a:r>
              <a:rPr lang="de-CH" altLang="en-US" sz="1400"/>
              <a:t>Name, Firstname</a:t>
            </a:r>
          </a:p>
          <a:p>
            <a:r>
              <a:rPr lang="de-CH" altLang="en-US" sz="1400"/>
              <a:t>Address</a:t>
            </a:r>
          </a:p>
          <a:p>
            <a:r>
              <a:rPr lang="de-CH" altLang="en-US" sz="1400"/>
              <a:t>Email</a:t>
            </a:r>
          </a:p>
          <a:p>
            <a:endParaRPr lang="en-US" altLang="en-US" sz="1400"/>
          </a:p>
        </p:txBody>
      </p:sp>
      <p:sp>
        <p:nvSpPr>
          <p:cNvPr id="123916" name="TextBox 15"/>
          <p:cNvSpPr txBox="1">
            <a:spLocks noChangeArrowheads="1"/>
          </p:cNvSpPr>
          <p:nvPr/>
        </p:nvSpPr>
        <p:spPr bwMode="auto">
          <a:xfrm>
            <a:off x="2379663" y="4508500"/>
            <a:ext cx="2447925" cy="1384300"/>
          </a:xfrm>
          <a:prstGeom prst="rect">
            <a:avLst/>
          </a:prstGeom>
          <a:solidFill>
            <a:schemeClr val="bg1"/>
          </a:solidFill>
          <a:ln w="9525">
            <a:solidFill>
              <a:schemeClr val="tx1"/>
            </a:solidFill>
            <a:miter lim="800000"/>
            <a:headEnd/>
            <a:tailEnd/>
          </a:ln>
        </p:spPr>
        <p:txBody>
          <a:bodyPr>
            <a:spAutoFit/>
          </a:bodyPr>
          <a:lstStyle/>
          <a:p>
            <a:r>
              <a:rPr lang="de-CH" altLang="en-US" sz="1400" u="sng"/>
              <a:t>Donations</a:t>
            </a:r>
          </a:p>
          <a:p>
            <a:r>
              <a:rPr lang="de-CH" altLang="en-US" sz="1000"/>
              <a:t>Sidaction 2012</a:t>
            </a:r>
            <a:br>
              <a:rPr lang="de-CH" altLang="en-US" sz="1000"/>
            </a:br>
            <a:r>
              <a:rPr lang="de-CH" altLang="en-US" sz="1000"/>
              <a:t>	10’000 DH  11.10.2012</a:t>
            </a:r>
          </a:p>
          <a:p>
            <a:r>
              <a:rPr lang="de-CH" altLang="en-US" sz="1000"/>
              <a:t>Sidaction 2010</a:t>
            </a:r>
          </a:p>
          <a:p>
            <a:r>
              <a:rPr lang="de-CH" altLang="en-US" sz="1000"/>
              <a:t>	5’000 DH 12.10.2010</a:t>
            </a:r>
          </a:p>
          <a:p>
            <a:r>
              <a:rPr lang="de-CH" altLang="en-US" sz="1000"/>
              <a:t>Telephone</a:t>
            </a:r>
          </a:p>
          <a:p>
            <a:r>
              <a:rPr lang="de-CH" altLang="en-US" sz="1000"/>
              <a:t>	2’000 DH 31.03.2013</a:t>
            </a:r>
            <a:br>
              <a:rPr lang="de-CH" altLang="en-US" sz="1000"/>
            </a:br>
            <a:r>
              <a:rPr lang="de-CH" altLang="en-US" sz="1000"/>
              <a:t>	3’000 DH 28.04.2011</a:t>
            </a:r>
            <a:endParaRPr lang="en-US" altLang="en-US" sz="1000"/>
          </a:p>
        </p:txBody>
      </p:sp>
      <p:cxnSp>
        <p:nvCxnSpPr>
          <p:cNvPr id="40" name="Straight Connector 39"/>
          <p:cNvCxnSpPr/>
          <p:nvPr/>
        </p:nvCxnSpPr>
        <p:spPr>
          <a:xfrm>
            <a:off x="292100" y="4219575"/>
            <a:ext cx="4679950" cy="3175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123918" name="TextBox 19"/>
          <p:cNvSpPr txBox="1">
            <a:spLocks noChangeArrowheads="1"/>
          </p:cNvSpPr>
          <p:nvPr/>
        </p:nvSpPr>
        <p:spPr bwMode="auto">
          <a:xfrm>
            <a:off x="4684713" y="4013200"/>
            <a:ext cx="287337" cy="246063"/>
          </a:xfrm>
          <a:prstGeom prst="rect">
            <a:avLst/>
          </a:prstGeom>
          <a:solidFill>
            <a:schemeClr val="bg1"/>
          </a:solidFill>
          <a:ln w="19050">
            <a:solidFill>
              <a:srgbClr val="FF0000"/>
            </a:solidFill>
            <a:miter lim="800000"/>
            <a:headEnd/>
            <a:tailEnd/>
          </a:ln>
        </p:spPr>
        <p:txBody>
          <a:bodyPr>
            <a:spAutoFit/>
          </a:bodyPr>
          <a:lstStyle/>
          <a:p>
            <a:r>
              <a:rPr lang="de-CH" altLang="en-US" sz="1000"/>
              <a:t>x</a:t>
            </a:r>
            <a:endParaRPr lang="en-US" altLang="en-US" sz="1000"/>
          </a:p>
        </p:txBody>
      </p:sp>
      <p:sp>
        <p:nvSpPr>
          <p:cNvPr id="42" name="TextBox 21"/>
          <p:cNvSpPr txBox="1">
            <a:spLocks noChangeArrowheads="1"/>
          </p:cNvSpPr>
          <p:nvPr/>
        </p:nvSpPr>
        <p:spPr bwMode="auto">
          <a:xfrm>
            <a:off x="363538" y="6107113"/>
            <a:ext cx="720725" cy="307975"/>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r>
              <a:rPr lang="de-CH" altLang="en-US" sz="1400">
                <a:solidFill>
                  <a:schemeClr val="bg1"/>
                </a:solidFill>
              </a:rPr>
              <a:t>Print</a:t>
            </a:r>
            <a:endParaRPr lang="en-US" altLang="en-US" sz="1400">
              <a:solidFill>
                <a:schemeClr val="bg1"/>
              </a:solidFill>
            </a:endParaRPr>
          </a:p>
        </p:txBody>
      </p:sp>
      <p:sp>
        <p:nvSpPr>
          <p:cNvPr id="43" name="TextBox 22"/>
          <p:cNvSpPr txBox="1">
            <a:spLocks noChangeArrowheads="1"/>
          </p:cNvSpPr>
          <p:nvPr/>
        </p:nvSpPr>
        <p:spPr bwMode="auto">
          <a:xfrm>
            <a:off x="1300163" y="6107113"/>
            <a:ext cx="719137" cy="307975"/>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r>
              <a:rPr lang="de-CH" altLang="en-US" sz="1400">
                <a:solidFill>
                  <a:schemeClr val="bg1"/>
                </a:solidFill>
              </a:rPr>
              <a:t>Export</a:t>
            </a:r>
            <a:endParaRPr lang="en-US" altLang="en-US" sz="1400">
              <a:solidFill>
                <a:schemeClr val="bg1"/>
              </a:solidFill>
            </a:endParaRPr>
          </a:p>
        </p:txBody>
      </p:sp>
      <p:sp>
        <p:nvSpPr>
          <p:cNvPr id="44" name="TextBox 23"/>
          <p:cNvSpPr txBox="1">
            <a:spLocks noChangeArrowheads="1"/>
          </p:cNvSpPr>
          <p:nvPr/>
        </p:nvSpPr>
        <p:spPr bwMode="auto">
          <a:xfrm>
            <a:off x="2235200" y="6107113"/>
            <a:ext cx="1081088" cy="307975"/>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r>
              <a:rPr lang="de-CH" altLang="en-US" sz="1400">
                <a:solidFill>
                  <a:schemeClr val="bg1"/>
                </a:solidFill>
              </a:rPr>
              <a:t>Duplicate?</a:t>
            </a:r>
            <a:endParaRPr lang="en-US" altLang="en-US" sz="1400">
              <a:solidFill>
                <a:schemeClr val="bg1"/>
              </a:solidFill>
            </a:endParaRPr>
          </a:p>
        </p:txBody>
      </p:sp>
      <p:sp>
        <p:nvSpPr>
          <p:cNvPr id="45" name="TextBox 24"/>
          <p:cNvSpPr txBox="1">
            <a:spLocks noChangeArrowheads="1"/>
          </p:cNvSpPr>
          <p:nvPr/>
        </p:nvSpPr>
        <p:spPr bwMode="auto">
          <a:xfrm>
            <a:off x="1444625" y="5281613"/>
            <a:ext cx="719138" cy="277812"/>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r>
              <a:rPr lang="de-CH" altLang="en-US" sz="1200" dirty="0">
                <a:solidFill>
                  <a:schemeClr val="bg1"/>
                </a:solidFill>
              </a:rPr>
              <a:t>Edit</a:t>
            </a:r>
            <a:endParaRPr lang="en-US" altLang="en-US" sz="1200" dirty="0">
              <a:solidFill>
                <a:schemeClr val="bg1"/>
              </a:solidFill>
            </a:endParaRPr>
          </a:p>
        </p:txBody>
      </p:sp>
      <p:sp>
        <p:nvSpPr>
          <p:cNvPr id="123923" name="TextBox 26"/>
          <p:cNvSpPr txBox="1">
            <a:spLocks noChangeArrowheads="1"/>
          </p:cNvSpPr>
          <p:nvPr/>
        </p:nvSpPr>
        <p:spPr bwMode="auto">
          <a:xfrm>
            <a:off x="1027113" y="1466850"/>
            <a:ext cx="2592387" cy="1846263"/>
          </a:xfrm>
          <a:prstGeom prst="rect">
            <a:avLst/>
          </a:prstGeom>
          <a:solidFill>
            <a:schemeClr val="bg1"/>
          </a:solidFill>
          <a:ln w="19050">
            <a:solidFill>
              <a:srgbClr val="FF6600"/>
            </a:solidFill>
            <a:miter lim="800000"/>
            <a:headEnd/>
            <a:tailEnd/>
          </a:ln>
        </p:spPr>
        <p:txBody>
          <a:bodyPr>
            <a:spAutoFit/>
          </a:bodyPr>
          <a:lstStyle/>
          <a:p>
            <a:r>
              <a:rPr lang="de-CH" altLang="en-US" sz="1400" u="sng"/>
              <a:t>List (Donors)</a:t>
            </a:r>
          </a:p>
          <a:p>
            <a:r>
              <a:rPr lang="de-CH" altLang="en-US" sz="1000"/>
              <a:t>Name, Firstname	[Details]</a:t>
            </a:r>
          </a:p>
          <a:p>
            <a:r>
              <a:rPr lang="de-CH" altLang="en-US" sz="1000"/>
              <a:t>Name, Firstname	[Details]</a:t>
            </a:r>
          </a:p>
          <a:p>
            <a:r>
              <a:rPr lang="de-CH" altLang="en-US" sz="1000"/>
              <a:t>Name, Firstname	[Details]</a:t>
            </a:r>
          </a:p>
          <a:p>
            <a:r>
              <a:rPr lang="de-CH" altLang="en-US" sz="1000"/>
              <a:t>Name, Firstname	[Details]</a:t>
            </a:r>
          </a:p>
          <a:p>
            <a:r>
              <a:rPr lang="de-CH" altLang="en-US" sz="1000"/>
              <a:t>Name, Firstname	[Details]</a:t>
            </a:r>
          </a:p>
          <a:p>
            <a:r>
              <a:rPr lang="de-CH" altLang="en-US" sz="1000"/>
              <a:t>Name, Firstname	[Details]</a:t>
            </a:r>
          </a:p>
          <a:p>
            <a:r>
              <a:rPr lang="de-CH" altLang="en-US" sz="1000"/>
              <a:t>Name, Firstname	[Details]</a:t>
            </a:r>
          </a:p>
          <a:p>
            <a:r>
              <a:rPr lang="de-CH" altLang="en-US" sz="1000"/>
              <a:t>Name, Firstname	[Details]</a:t>
            </a:r>
          </a:p>
          <a:p>
            <a:r>
              <a:rPr lang="de-CH" altLang="en-US" sz="1000"/>
              <a:t>Name, Firstname	[Details]</a:t>
            </a:r>
          </a:p>
          <a:p>
            <a:endParaRPr lang="en-US" altLang="en-US" sz="1000"/>
          </a:p>
        </p:txBody>
      </p:sp>
      <p:sp>
        <p:nvSpPr>
          <p:cNvPr id="123924" name="TextBox 46"/>
          <p:cNvSpPr txBox="1">
            <a:spLocks noChangeArrowheads="1"/>
          </p:cNvSpPr>
          <p:nvPr/>
        </p:nvSpPr>
        <p:spPr bwMode="auto">
          <a:xfrm>
            <a:off x="6570663" y="1962150"/>
            <a:ext cx="1509712" cy="277813"/>
          </a:xfrm>
          <a:prstGeom prst="rect">
            <a:avLst/>
          </a:prstGeom>
          <a:noFill/>
          <a:ln w="9525">
            <a:noFill/>
            <a:miter lim="800000"/>
            <a:headEnd/>
            <a:tailEnd/>
          </a:ln>
        </p:spPr>
        <p:txBody>
          <a:bodyPr wrap="none">
            <a:spAutoFit/>
          </a:bodyPr>
          <a:lstStyle/>
          <a:p>
            <a:r>
              <a:rPr lang="de-CH" altLang="en-US" sz="1200"/>
              <a:t>SIDACTION (2012)</a:t>
            </a:r>
            <a:endParaRPr lang="en-US" altLang="en-US" sz="1200"/>
          </a:p>
        </p:txBody>
      </p:sp>
      <p:sp>
        <p:nvSpPr>
          <p:cNvPr id="123925" name="TextBox 28"/>
          <p:cNvSpPr txBox="1">
            <a:spLocks noChangeArrowheads="1"/>
          </p:cNvSpPr>
          <p:nvPr/>
        </p:nvSpPr>
        <p:spPr bwMode="auto">
          <a:xfrm>
            <a:off x="4594225" y="2208213"/>
            <a:ext cx="935038" cy="277812"/>
          </a:xfrm>
          <a:prstGeom prst="rect">
            <a:avLst/>
          </a:prstGeom>
          <a:noFill/>
          <a:ln w="9525">
            <a:noFill/>
            <a:miter lim="800000"/>
            <a:headEnd/>
            <a:tailEnd/>
          </a:ln>
        </p:spPr>
        <p:txBody>
          <a:bodyPr wrap="none">
            <a:spAutoFit/>
          </a:bodyPr>
          <a:lstStyle/>
          <a:p>
            <a:r>
              <a:rPr lang="de-CH" altLang="en-US" sz="1200"/>
              <a:t>Access DB</a:t>
            </a:r>
            <a:endParaRPr lang="en-US" altLang="en-US" sz="1200"/>
          </a:p>
        </p:txBody>
      </p:sp>
      <p:sp>
        <p:nvSpPr>
          <p:cNvPr id="123926" name="TextBox 29"/>
          <p:cNvSpPr txBox="1">
            <a:spLocks noChangeArrowheads="1"/>
          </p:cNvSpPr>
          <p:nvPr/>
        </p:nvSpPr>
        <p:spPr bwMode="auto">
          <a:xfrm>
            <a:off x="292100" y="3981450"/>
            <a:ext cx="1112838" cy="277813"/>
          </a:xfrm>
          <a:prstGeom prst="rect">
            <a:avLst/>
          </a:prstGeom>
          <a:noFill/>
          <a:ln w="9525">
            <a:noFill/>
            <a:miter lim="800000"/>
            <a:headEnd/>
            <a:tailEnd/>
          </a:ln>
        </p:spPr>
        <p:txBody>
          <a:bodyPr wrap="none">
            <a:spAutoFit/>
          </a:bodyPr>
          <a:lstStyle/>
          <a:p>
            <a:r>
              <a:rPr lang="de-CH" altLang="en-US" sz="1200"/>
              <a:t>Donor Details</a:t>
            </a:r>
            <a:endParaRPr lang="en-US" altLang="en-US" sz="1200"/>
          </a:p>
        </p:txBody>
      </p:sp>
      <p:sp>
        <p:nvSpPr>
          <p:cNvPr id="123927" name="TextBox 30"/>
          <p:cNvSpPr txBox="1">
            <a:spLocks noChangeArrowheads="1"/>
          </p:cNvSpPr>
          <p:nvPr/>
        </p:nvSpPr>
        <p:spPr bwMode="auto">
          <a:xfrm>
            <a:off x="6796088" y="2306638"/>
            <a:ext cx="414337" cy="277812"/>
          </a:xfrm>
          <a:prstGeom prst="rect">
            <a:avLst/>
          </a:prstGeom>
          <a:noFill/>
          <a:ln w="9525">
            <a:noFill/>
            <a:miter lim="800000"/>
            <a:headEnd/>
            <a:tailEnd/>
          </a:ln>
        </p:spPr>
        <p:txBody>
          <a:bodyPr wrap="none">
            <a:spAutoFit/>
          </a:bodyPr>
          <a:lstStyle/>
          <a:p>
            <a:r>
              <a:rPr lang="de-CH" altLang="en-US" sz="1200">
                <a:solidFill>
                  <a:schemeClr val="bg1"/>
                </a:solidFill>
              </a:rPr>
              <a:t>.xls</a:t>
            </a:r>
            <a:endParaRPr lang="en-US" altLang="en-US" sz="1200">
              <a:solidFill>
                <a:schemeClr val="bg1"/>
              </a:solidFill>
            </a:endParaRPr>
          </a:p>
        </p:txBody>
      </p:sp>
      <p:sp>
        <p:nvSpPr>
          <p:cNvPr id="51" name="Folded Corner 50"/>
          <p:cNvSpPr/>
          <p:nvPr/>
        </p:nvSpPr>
        <p:spPr>
          <a:xfrm>
            <a:off x="6715125" y="3190875"/>
            <a:ext cx="576263" cy="358775"/>
          </a:xfrm>
          <a:prstGeom prst="foldedCorner">
            <a:avLst/>
          </a:prstGeom>
          <a:ln/>
        </p:spPr>
        <p:style>
          <a:lnRef idx="1">
            <a:schemeClr val="accent2"/>
          </a:lnRef>
          <a:fillRef idx="3">
            <a:schemeClr val="accent2"/>
          </a:fillRef>
          <a:effectRef idx="2">
            <a:schemeClr val="accent2"/>
          </a:effectRef>
          <a:fontRef idx="minor">
            <a:schemeClr val="lt1"/>
          </a:fontRef>
        </p:style>
        <p:txBody>
          <a:bodyPr anchor="ctr"/>
          <a:lstStyle/>
          <a:p>
            <a:pPr algn="ctr">
              <a:defRPr/>
            </a:pPr>
            <a:endParaRPr lang="en-US"/>
          </a:p>
        </p:txBody>
      </p:sp>
      <p:sp>
        <p:nvSpPr>
          <p:cNvPr id="123929" name="TextBox 32"/>
          <p:cNvSpPr txBox="1">
            <a:spLocks noChangeArrowheads="1"/>
          </p:cNvSpPr>
          <p:nvPr/>
        </p:nvSpPr>
        <p:spPr bwMode="auto">
          <a:xfrm>
            <a:off x="6570663" y="2882900"/>
            <a:ext cx="1509712" cy="276225"/>
          </a:xfrm>
          <a:prstGeom prst="rect">
            <a:avLst/>
          </a:prstGeom>
          <a:noFill/>
          <a:ln w="9525">
            <a:noFill/>
            <a:miter lim="800000"/>
            <a:headEnd/>
            <a:tailEnd/>
          </a:ln>
        </p:spPr>
        <p:txBody>
          <a:bodyPr wrap="none">
            <a:spAutoFit/>
          </a:bodyPr>
          <a:lstStyle/>
          <a:p>
            <a:r>
              <a:rPr lang="de-CH" altLang="en-US" sz="1200"/>
              <a:t>SIDACTION (2014)</a:t>
            </a:r>
            <a:endParaRPr lang="en-US" altLang="en-US" sz="1200"/>
          </a:p>
        </p:txBody>
      </p:sp>
      <p:sp>
        <p:nvSpPr>
          <p:cNvPr id="123930" name="TextBox 33"/>
          <p:cNvSpPr txBox="1">
            <a:spLocks noChangeArrowheads="1"/>
          </p:cNvSpPr>
          <p:nvPr/>
        </p:nvSpPr>
        <p:spPr bwMode="auto">
          <a:xfrm>
            <a:off x="6796088" y="3227388"/>
            <a:ext cx="414337" cy="276225"/>
          </a:xfrm>
          <a:prstGeom prst="rect">
            <a:avLst/>
          </a:prstGeom>
          <a:noFill/>
          <a:ln w="9525">
            <a:noFill/>
            <a:miter lim="800000"/>
            <a:headEnd/>
            <a:tailEnd/>
          </a:ln>
        </p:spPr>
        <p:txBody>
          <a:bodyPr wrap="none">
            <a:spAutoFit/>
          </a:bodyPr>
          <a:lstStyle/>
          <a:p>
            <a:r>
              <a:rPr lang="de-CH" altLang="en-US" sz="1200">
                <a:solidFill>
                  <a:schemeClr val="bg1"/>
                </a:solidFill>
              </a:rPr>
              <a:t>.xls</a:t>
            </a:r>
            <a:endParaRPr lang="en-US" altLang="en-US" sz="1200">
              <a:solidFill>
                <a:schemeClr val="bg1"/>
              </a:solidFill>
            </a:endParaRPr>
          </a:p>
        </p:txBody>
      </p:sp>
      <p:cxnSp>
        <p:nvCxnSpPr>
          <p:cNvPr id="54" name="Straight Arrow Connector 53"/>
          <p:cNvCxnSpPr>
            <a:endCxn id="31" idx="4"/>
          </p:cNvCxnSpPr>
          <p:nvPr/>
        </p:nvCxnSpPr>
        <p:spPr>
          <a:xfrm flipH="1">
            <a:off x="5851525" y="2808288"/>
            <a:ext cx="792163" cy="476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a:stCxn id="31" idx="2"/>
            <a:endCxn id="123923" idx="3"/>
          </p:cNvCxnSpPr>
          <p:nvPr/>
        </p:nvCxnSpPr>
        <p:spPr>
          <a:xfrm flipH="1" flipV="1">
            <a:off x="3619500" y="2390775"/>
            <a:ext cx="719138" cy="42227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stCxn id="123923" idx="2"/>
            <a:endCxn id="37" idx="0"/>
          </p:cNvCxnSpPr>
          <p:nvPr/>
        </p:nvCxnSpPr>
        <p:spPr>
          <a:xfrm>
            <a:off x="2324100" y="3313113"/>
            <a:ext cx="307975" cy="69691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6034088" y="3902075"/>
            <a:ext cx="2841625" cy="2490788"/>
          </a:xfrm>
          <a:prstGeom prst="rect">
            <a:avLst/>
          </a:prstGeom>
          <a:solidFill>
            <a:schemeClr val="bg1"/>
          </a:solid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dirty="0">
              <a:solidFill>
                <a:schemeClr val="tx1"/>
              </a:solidFill>
            </a:endParaRPr>
          </a:p>
        </p:txBody>
      </p:sp>
      <p:cxnSp>
        <p:nvCxnSpPr>
          <p:cNvPr id="58" name="Straight Connector 57"/>
          <p:cNvCxnSpPr/>
          <p:nvPr/>
        </p:nvCxnSpPr>
        <p:spPr>
          <a:xfrm>
            <a:off x="6034088" y="4124325"/>
            <a:ext cx="2841625" cy="1905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123936" name="TextBox 19"/>
          <p:cNvSpPr txBox="1">
            <a:spLocks noChangeArrowheads="1"/>
          </p:cNvSpPr>
          <p:nvPr/>
        </p:nvSpPr>
        <p:spPr bwMode="auto">
          <a:xfrm>
            <a:off x="8588375" y="3905250"/>
            <a:ext cx="287338" cy="246063"/>
          </a:xfrm>
          <a:prstGeom prst="rect">
            <a:avLst/>
          </a:prstGeom>
          <a:solidFill>
            <a:schemeClr val="bg1"/>
          </a:solidFill>
          <a:ln w="19050">
            <a:solidFill>
              <a:srgbClr val="FF0000"/>
            </a:solidFill>
            <a:miter lim="800000"/>
            <a:headEnd/>
            <a:tailEnd/>
          </a:ln>
        </p:spPr>
        <p:txBody>
          <a:bodyPr>
            <a:spAutoFit/>
          </a:bodyPr>
          <a:lstStyle/>
          <a:p>
            <a:r>
              <a:rPr lang="de-CH" altLang="en-US" sz="1000"/>
              <a:t>x</a:t>
            </a:r>
            <a:endParaRPr lang="en-US" altLang="en-US" sz="1000"/>
          </a:p>
        </p:txBody>
      </p:sp>
      <p:sp>
        <p:nvSpPr>
          <p:cNvPr id="123937" name="TextBox 29"/>
          <p:cNvSpPr txBox="1">
            <a:spLocks noChangeArrowheads="1"/>
          </p:cNvSpPr>
          <p:nvPr/>
        </p:nvSpPr>
        <p:spPr bwMode="auto">
          <a:xfrm>
            <a:off x="6034088" y="3873500"/>
            <a:ext cx="619125" cy="277813"/>
          </a:xfrm>
          <a:prstGeom prst="rect">
            <a:avLst/>
          </a:prstGeom>
          <a:noFill/>
          <a:ln w="9525">
            <a:noFill/>
            <a:miter lim="800000"/>
            <a:headEnd/>
            <a:tailEnd/>
          </a:ln>
        </p:spPr>
        <p:txBody>
          <a:bodyPr wrap="none">
            <a:spAutoFit/>
          </a:bodyPr>
          <a:lstStyle/>
          <a:p>
            <a:r>
              <a:rPr lang="de-CH" altLang="en-US" sz="1200"/>
              <a:t>Admin</a:t>
            </a:r>
            <a:endParaRPr lang="en-US" altLang="en-US" sz="1200"/>
          </a:p>
        </p:txBody>
      </p:sp>
      <p:pic>
        <p:nvPicPr>
          <p:cNvPr id="123938" name="Picture 4" descr="http://www.artistsvalley.com/images/icons/Database%20Application%20Icons/Import%20Data%20Blue/256x256/Import%20Data%20Blue.jpg"/>
          <p:cNvPicPr>
            <a:picLocks noChangeAspect="1" noChangeArrowheads="1"/>
          </p:cNvPicPr>
          <p:nvPr/>
        </p:nvPicPr>
        <p:blipFill>
          <a:blip r:embed="rId2"/>
          <a:srcRect/>
          <a:stretch>
            <a:fillRect/>
          </a:stretch>
        </p:blipFill>
        <p:spPr bwMode="auto">
          <a:xfrm>
            <a:off x="6550025" y="4351338"/>
            <a:ext cx="563563" cy="563562"/>
          </a:xfrm>
          <a:prstGeom prst="rect">
            <a:avLst/>
          </a:prstGeom>
          <a:noFill/>
          <a:ln w="9525">
            <a:noFill/>
            <a:miter lim="800000"/>
            <a:headEnd/>
            <a:tailEnd/>
          </a:ln>
        </p:spPr>
      </p:pic>
      <p:pic>
        <p:nvPicPr>
          <p:cNvPr id="123939" name="Picture 6" descr="https://encrypted-tbn2.gstatic.com/images?q=tbn:ANd9GcSE0FlwjYXxUlql81QXXrrsKMIewGrFxi0LpucA0ARrjioHT6Bs"/>
          <p:cNvPicPr>
            <a:picLocks noChangeAspect="1" noChangeArrowheads="1"/>
          </p:cNvPicPr>
          <p:nvPr/>
        </p:nvPicPr>
        <p:blipFill>
          <a:blip r:embed="rId3"/>
          <a:srcRect/>
          <a:stretch>
            <a:fillRect/>
          </a:stretch>
        </p:blipFill>
        <p:spPr bwMode="auto">
          <a:xfrm>
            <a:off x="7729538" y="4321175"/>
            <a:ext cx="563562" cy="565150"/>
          </a:xfrm>
          <a:prstGeom prst="rect">
            <a:avLst/>
          </a:prstGeom>
          <a:noFill/>
          <a:ln w="9525">
            <a:noFill/>
            <a:miter lim="800000"/>
            <a:headEnd/>
            <a:tailEnd/>
          </a:ln>
        </p:spPr>
      </p:pic>
      <p:pic>
        <p:nvPicPr>
          <p:cNvPr id="123940" name="Picture 8" descr="https://cdn1.iconfinder.com/data/icons/musthave/256/Copy%20v2.png"/>
          <p:cNvPicPr>
            <a:picLocks noChangeAspect="1" noChangeArrowheads="1"/>
          </p:cNvPicPr>
          <p:nvPr/>
        </p:nvPicPr>
        <p:blipFill>
          <a:blip r:embed="rId4"/>
          <a:srcRect/>
          <a:stretch>
            <a:fillRect/>
          </a:stretch>
        </p:blipFill>
        <p:spPr bwMode="auto">
          <a:xfrm>
            <a:off x="6467475" y="5299075"/>
            <a:ext cx="646113" cy="646113"/>
          </a:xfrm>
          <a:prstGeom prst="rect">
            <a:avLst/>
          </a:prstGeom>
          <a:noFill/>
          <a:ln w="9525">
            <a:noFill/>
            <a:miter lim="800000"/>
            <a:headEnd/>
            <a:tailEnd/>
          </a:ln>
        </p:spPr>
      </p:pic>
      <p:pic>
        <p:nvPicPr>
          <p:cNvPr id="123941" name="Picture 12" descr="http://a.dryicons.com/images/icon_sets/coquette_part_3_icons_set/png/128x128/report.png"/>
          <p:cNvPicPr>
            <a:picLocks noChangeAspect="1" noChangeArrowheads="1"/>
          </p:cNvPicPr>
          <p:nvPr/>
        </p:nvPicPr>
        <p:blipFill>
          <a:blip r:embed="rId5"/>
          <a:srcRect/>
          <a:stretch>
            <a:fillRect/>
          </a:stretch>
        </p:blipFill>
        <p:spPr bwMode="auto">
          <a:xfrm>
            <a:off x="7710488" y="5253038"/>
            <a:ext cx="773112" cy="773112"/>
          </a:xfrm>
          <a:prstGeom prst="rect">
            <a:avLst/>
          </a:prstGeom>
          <a:noFill/>
          <a:ln w="9525">
            <a:noFill/>
            <a:miter lim="800000"/>
            <a:headEnd/>
            <a:tailEnd/>
          </a:ln>
        </p:spPr>
      </p:pic>
      <p:cxnSp>
        <p:nvCxnSpPr>
          <p:cNvPr id="66" name="Straight Arrow Connector 65"/>
          <p:cNvCxnSpPr>
            <a:stCxn id="31" idx="3"/>
            <a:endCxn id="123937" idx="1"/>
          </p:cNvCxnSpPr>
          <p:nvPr/>
        </p:nvCxnSpPr>
        <p:spPr>
          <a:xfrm>
            <a:off x="5095875" y="3460750"/>
            <a:ext cx="938213" cy="55245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3943" name="TextBox 66"/>
          <p:cNvSpPr txBox="1">
            <a:spLocks noChangeArrowheads="1"/>
          </p:cNvSpPr>
          <p:nvPr/>
        </p:nvSpPr>
        <p:spPr bwMode="auto">
          <a:xfrm>
            <a:off x="6507163" y="4851400"/>
            <a:ext cx="1011237" cy="276225"/>
          </a:xfrm>
          <a:prstGeom prst="rect">
            <a:avLst/>
          </a:prstGeom>
          <a:noFill/>
          <a:ln w="9525">
            <a:noFill/>
            <a:miter lim="800000"/>
            <a:headEnd/>
            <a:tailEnd/>
          </a:ln>
        </p:spPr>
        <p:txBody>
          <a:bodyPr>
            <a:spAutoFit/>
          </a:bodyPr>
          <a:lstStyle/>
          <a:p>
            <a:r>
              <a:rPr lang="de-CH" sz="1200"/>
              <a:t>Import</a:t>
            </a:r>
            <a:endParaRPr lang="en-US" sz="1200"/>
          </a:p>
        </p:txBody>
      </p:sp>
      <p:sp>
        <p:nvSpPr>
          <p:cNvPr id="123944" name="TextBox 67"/>
          <p:cNvSpPr txBox="1">
            <a:spLocks noChangeArrowheads="1"/>
          </p:cNvSpPr>
          <p:nvPr/>
        </p:nvSpPr>
        <p:spPr bwMode="auto">
          <a:xfrm>
            <a:off x="7659688" y="4851400"/>
            <a:ext cx="1011237" cy="276225"/>
          </a:xfrm>
          <a:prstGeom prst="rect">
            <a:avLst/>
          </a:prstGeom>
          <a:noFill/>
          <a:ln w="9525">
            <a:noFill/>
            <a:miter lim="800000"/>
            <a:headEnd/>
            <a:tailEnd/>
          </a:ln>
        </p:spPr>
        <p:txBody>
          <a:bodyPr>
            <a:spAutoFit/>
          </a:bodyPr>
          <a:lstStyle/>
          <a:p>
            <a:r>
              <a:rPr lang="de-CH" sz="1200"/>
              <a:t>Export</a:t>
            </a:r>
            <a:endParaRPr lang="en-US" sz="1200"/>
          </a:p>
        </p:txBody>
      </p:sp>
      <p:sp>
        <p:nvSpPr>
          <p:cNvPr id="123945" name="TextBox 68"/>
          <p:cNvSpPr txBox="1">
            <a:spLocks noChangeArrowheads="1"/>
          </p:cNvSpPr>
          <p:nvPr/>
        </p:nvSpPr>
        <p:spPr bwMode="auto">
          <a:xfrm>
            <a:off x="6467475" y="5894388"/>
            <a:ext cx="1009650" cy="461962"/>
          </a:xfrm>
          <a:prstGeom prst="rect">
            <a:avLst/>
          </a:prstGeom>
          <a:noFill/>
          <a:ln w="9525">
            <a:noFill/>
            <a:miter lim="800000"/>
            <a:headEnd/>
            <a:tailEnd/>
          </a:ln>
        </p:spPr>
        <p:txBody>
          <a:bodyPr>
            <a:spAutoFit/>
          </a:bodyPr>
          <a:lstStyle/>
          <a:p>
            <a:r>
              <a:rPr lang="de-CH" sz="1200"/>
              <a:t>Duplicate search</a:t>
            </a:r>
            <a:endParaRPr lang="en-US" sz="1200"/>
          </a:p>
        </p:txBody>
      </p:sp>
      <p:sp>
        <p:nvSpPr>
          <p:cNvPr id="123946" name="TextBox 69"/>
          <p:cNvSpPr txBox="1">
            <a:spLocks noChangeArrowheads="1"/>
          </p:cNvSpPr>
          <p:nvPr/>
        </p:nvSpPr>
        <p:spPr bwMode="auto">
          <a:xfrm>
            <a:off x="7788275" y="5967413"/>
            <a:ext cx="1009650" cy="277812"/>
          </a:xfrm>
          <a:prstGeom prst="rect">
            <a:avLst/>
          </a:prstGeom>
          <a:noFill/>
          <a:ln w="9525">
            <a:noFill/>
            <a:miter lim="800000"/>
            <a:headEnd/>
            <a:tailEnd/>
          </a:ln>
        </p:spPr>
        <p:txBody>
          <a:bodyPr>
            <a:spAutoFit/>
          </a:bodyPr>
          <a:lstStyle/>
          <a:p>
            <a:r>
              <a:rPr lang="de-CH" sz="1200"/>
              <a:t>Reports</a:t>
            </a:r>
            <a:endParaRPr lang="en-US" sz="1200"/>
          </a:p>
        </p:txBody>
      </p:sp>
      <p:pic>
        <p:nvPicPr>
          <p:cNvPr id="123947" name="Picture 14" descr="http://alcrabat.files.wordpress.com/2012/03/maroc-telecom.gif"/>
          <p:cNvPicPr>
            <a:picLocks noChangeAspect="1" noChangeArrowheads="1"/>
          </p:cNvPicPr>
          <p:nvPr/>
        </p:nvPicPr>
        <p:blipFill>
          <a:blip r:embed="rId6"/>
          <a:srcRect/>
          <a:stretch>
            <a:fillRect/>
          </a:stretch>
        </p:blipFill>
        <p:spPr bwMode="auto">
          <a:xfrm>
            <a:off x="6034088" y="876300"/>
            <a:ext cx="1400175" cy="706438"/>
          </a:xfrm>
          <a:prstGeom prst="rect">
            <a:avLst/>
          </a:prstGeom>
          <a:noFill/>
          <a:ln w="9525">
            <a:noFill/>
            <a:miter lim="800000"/>
            <a:headEnd/>
            <a:tailEnd/>
          </a:ln>
        </p:spPr>
      </p:pic>
      <p:cxnSp>
        <p:nvCxnSpPr>
          <p:cNvPr id="72" name="Elbow Connector 71"/>
          <p:cNvCxnSpPr>
            <a:stCxn id="71" idx="2"/>
            <a:endCxn id="123924" idx="0"/>
          </p:cNvCxnSpPr>
          <p:nvPr/>
        </p:nvCxnSpPr>
        <p:spPr>
          <a:xfrm rot="16200000" flipH="1">
            <a:off x="6840538" y="1476375"/>
            <a:ext cx="379412" cy="592138"/>
          </a:xfrm>
          <a:prstGeom prst="bentConnector3">
            <a:avLst>
              <a:gd name="adj1" fmla="val 50000"/>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2"/>
          <p:cNvSpPr>
            <a:spLocks noGrp="1" noChangeArrowheads="1"/>
          </p:cNvSpPr>
          <p:nvPr>
            <p:ph type="title" idx="4294967295"/>
          </p:nvPr>
        </p:nvSpPr>
        <p:spPr>
          <a:xfrm>
            <a:off x="274638" y="487363"/>
            <a:ext cx="8686800" cy="701675"/>
          </a:xfrm>
        </p:spPr>
        <p:txBody>
          <a:bodyPr/>
          <a:lstStyle/>
          <a:p>
            <a:r>
              <a:rPr lang="en-US" smtClean="0"/>
              <a:t>Defined Project Priorities &amp; ALCS/IBM Commitments</a:t>
            </a:r>
          </a:p>
        </p:txBody>
      </p:sp>
      <p:sp>
        <p:nvSpPr>
          <p:cNvPr id="104451" name="Rectangle 3"/>
          <p:cNvSpPr>
            <a:spLocks noGrp="1" noChangeArrowheads="1"/>
          </p:cNvSpPr>
          <p:nvPr>
            <p:ph type="body" idx="4294967295"/>
          </p:nvPr>
        </p:nvSpPr>
        <p:spPr/>
        <p:txBody>
          <a:bodyPr/>
          <a:lstStyle/>
          <a:p>
            <a:pPr marL="266700" indent="-266700">
              <a:lnSpc>
                <a:spcPct val="170000"/>
              </a:lnSpc>
              <a:buFont typeface="Wingdings" pitchFamily="2" charset="2"/>
              <a:buAutoNum type="arabicPeriod"/>
            </a:pPr>
            <a:r>
              <a:rPr lang="fr-FR" altLang="en-US" sz="1600" b="1" smtClean="0">
                <a:solidFill>
                  <a:srgbClr val="000066"/>
                </a:solidFill>
              </a:rPr>
              <a:t>IT </a:t>
            </a:r>
            <a:r>
              <a:rPr lang="en-US" altLang="en-US" sz="1600" b="1" smtClean="0">
                <a:solidFill>
                  <a:srgbClr val="000066"/>
                </a:solidFill>
              </a:rPr>
              <a:t>Infrastructure Review of Headquarters</a:t>
            </a:r>
            <a:endParaRPr lang="fr-FR" altLang="en-US" sz="1600" b="1" smtClean="0">
              <a:solidFill>
                <a:srgbClr val="000066"/>
              </a:solidFill>
            </a:endParaRPr>
          </a:p>
          <a:p>
            <a:pPr marL="266700" indent="-266700">
              <a:lnSpc>
                <a:spcPct val="170000"/>
              </a:lnSpc>
              <a:buFont typeface="Wingdings" pitchFamily="2" charset="2"/>
              <a:buAutoNum type="arabicPeriod"/>
            </a:pPr>
            <a:r>
              <a:rPr lang="en-US" altLang="en-US" sz="1600" b="1" smtClean="0">
                <a:solidFill>
                  <a:srgbClr val="000066"/>
                </a:solidFill>
              </a:rPr>
              <a:t>Financial Management – Budget and Payment Processing Application</a:t>
            </a:r>
            <a:r>
              <a:rPr lang="en-US" altLang="en-US" sz="1600" smtClean="0"/>
              <a:t> </a:t>
            </a:r>
          </a:p>
          <a:p>
            <a:pPr marL="742950" lvl="1" indent="-285750">
              <a:lnSpc>
                <a:spcPct val="170000"/>
              </a:lnSpc>
              <a:buFont typeface="Wingdings" pitchFamily="2" charset="2"/>
              <a:buChar char="§"/>
            </a:pPr>
            <a:r>
              <a:rPr lang="en-US" altLang="en-US" sz="1600" smtClean="0"/>
              <a:t>Accounting System Interface (SAGE 100 vs. 1000 Assessment)</a:t>
            </a:r>
            <a:endParaRPr lang="fr-FR" altLang="en-US" sz="1600" smtClean="0"/>
          </a:p>
          <a:p>
            <a:pPr marL="266700" indent="-266700">
              <a:lnSpc>
                <a:spcPct val="170000"/>
              </a:lnSpc>
              <a:buFont typeface="Wingdings" pitchFamily="2" charset="2"/>
              <a:buAutoNum type="arabicPeriod"/>
            </a:pPr>
            <a:r>
              <a:rPr lang="en-US" altLang="en-US" sz="1600" b="1" smtClean="0">
                <a:solidFill>
                  <a:srgbClr val="000066"/>
                </a:solidFill>
              </a:rPr>
              <a:t>Operational Data</a:t>
            </a:r>
            <a:r>
              <a:rPr lang="fr-FR" altLang="en-US" sz="1600" b="1" smtClean="0">
                <a:solidFill>
                  <a:srgbClr val="000066"/>
                </a:solidFill>
              </a:rPr>
              <a:t> Collection &amp; </a:t>
            </a:r>
            <a:r>
              <a:rPr lang="en-US" altLang="en-US" sz="1600" b="1" smtClean="0">
                <a:solidFill>
                  <a:srgbClr val="000066"/>
                </a:solidFill>
              </a:rPr>
              <a:t>Analysis</a:t>
            </a:r>
          </a:p>
          <a:p>
            <a:pPr marL="266700" indent="-266700">
              <a:lnSpc>
                <a:spcPct val="170000"/>
              </a:lnSpc>
              <a:buFont typeface="Wingdings" pitchFamily="2" charset="2"/>
              <a:buAutoNum type="arabicPeriod"/>
            </a:pPr>
            <a:r>
              <a:rPr lang="fr-FR" altLang="en-US" sz="1600" smtClean="0"/>
              <a:t>Communication</a:t>
            </a:r>
            <a:r>
              <a:rPr lang="en-US" altLang="en-US" sz="1600" smtClean="0"/>
              <a:t>s and Collaboration Tools</a:t>
            </a:r>
            <a:endParaRPr lang="fr-FR" altLang="en-US" sz="1600" smtClean="0"/>
          </a:p>
          <a:p>
            <a:pPr marL="266700" indent="-266700">
              <a:lnSpc>
                <a:spcPct val="170000"/>
              </a:lnSpc>
              <a:buFont typeface="Wingdings" pitchFamily="2" charset="2"/>
              <a:buAutoNum type="arabicPeriod"/>
            </a:pPr>
            <a:r>
              <a:rPr lang="en-US" altLang="en-US" sz="1600" smtClean="0"/>
              <a:t>Archiving</a:t>
            </a:r>
            <a:r>
              <a:rPr lang="fr-FR" altLang="en-US" sz="1600" smtClean="0"/>
              <a:t> / Backup / Security</a:t>
            </a:r>
          </a:p>
          <a:p>
            <a:pPr marL="266700" indent="-266700">
              <a:lnSpc>
                <a:spcPct val="170000"/>
              </a:lnSpc>
              <a:buFont typeface="Wingdings" pitchFamily="2" charset="2"/>
              <a:buAutoNum type="arabicPeriod"/>
            </a:pPr>
            <a:r>
              <a:rPr lang="en-US" altLang="en-US" sz="1600" smtClean="0"/>
              <a:t>Fundraising - Donor Database Usage</a:t>
            </a:r>
            <a:endParaRPr lang="fr-FR" altLang="en-US" sz="1600" smtClean="0"/>
          </a:p>
          <a:p>
            <a:pPr marL="266700" indent="-266700">
              <a:lnSpc>
                <a:spcPct val="170000"/>
              </a:lnSpc>
              <a:buFont typeface="Wingdings" pitchFamily="2" charset="2"/>
              <a:buAutoNum type="arabicPeriod"/>
            </a:pPr>
            <a:r>
              <a:rPr lang="fr-FR" altLang="en-US" sz="1600" smtClean="0"/>
              <a:t>Mobile Application</a:t>
            </a:r>
            <a:r>
              <a:rPr lang="en-US" altLang="en-US" sz="1600" smtClean="0"/>
              <a:t> Development</a:t>
            </a:r>
          </a:p>
          <a:p>
            <a:pPr marL="266700" indent="-266700">
              <a:buFont typeface="Wingdings" pitchFamily="2" charset="2"/>
              <a:buNone/>
            </a:pPr>
            <a:endParaRPr lang="en-US" sz="1600" smtClean="0"/>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1" name="Rectangle 2"/>
          <p:cNvSpPr>
            <a:spLocks noGrp="1" noChangeArrowheads="1"/>
          </p:cNvSpPr>
          <p:nvPr>
            <p:ph type="title"/>
          </p:nvPr>
        </p:nvSpPr>
        <p:spPr>
          <a:xfrm>
            <a:off x="274638" y="593725"/>
            <a:ext cx="7645400" cy="979488"/>
          </a:xfrm>
        </p:spPr>
        <p:txBody>
          <a:bodyPr/>
          <a:lstStyle/>
          <a:p>
            <a:pPr eaLnBrk="1" hangingPunct="1"/>
            <a:r>
              <a:rPr lang="en-US" sz="1800" b="1" smtClean="0"/>
              <a:t>Archiving/Backup Recommendations:  </a:t>
            </a:r>
            <a:r>
              <a:rPr lang="en-US" sz="1800" smtClean="0"/>
              <a:t/>
            </a:r>
            <a:br>
              <a:rPr lang="en-US" sz="1800" smtClean="0"/>
            </a:br>
            <a:r>
              <a:rPr lang="en-US" sz="1800" i="1" smtClean="0"/>
              <a:t>Institute a plan to support continuity of operations and IT security </a:t>
            </a:r>
            <a:br>
              <a:rPr lang="en-US" sz="1800" i="1" smtClean="0"/>
            </a:br>
            <a:endParaRPr lang="en-US" sz="1800" i="1" smtClean="0"/>
          </a:p>
        </p:txBody>
      </p:sp>
      <p:sp>
        <p:nvSpPr>
          <p:cNvPr id="7" name="AutoShape 12"/>
          <p:cNvSpPr>
            <a:spLocks noChangeArrowheads="1"/>
          </p:cNvSpPr>
          <p:nvPr/>
        </p:nvSpPr>
        <p:spPr bwMode="auto">
          <a:xfrm>
            <a:off x="2492375" y="1706563"/>
            <a:ext cx="6469063" cy="1096962"/>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buFont typeface="Arial" pitchFamily="34" charset="0"/>
              <a:buChar char="•"/>
              <a:defRPr/>
            </a:pPr>
            <a:endParaRPr lang="en-US" sz="1200" dirty="0"/>
          </a:p>
          <a:p>
            <a:pPr lvl="4">
              <a:buFont typeface="Arial" pitchFamily="34" charset="0"/>
              <a:buChar char="•"/>
              <a:defRPr/>
            </a:pPr>
            <a:endParaRPr lang="en-US" sz="1200" dirty="0"/>
          </a:p>
        </p:txBody>
      </p:sp>
      <p:sp>
        <p:nvSpPr>
          <p:cNvPr id="11" name="AutoShape 30"/>
          <p:cNvSpPr>
            <a:spLocks noChangeArrowheads="1"/>
          </p:cNvSpPr>
          <p:nvPr/>
        </p:nvSpPr>
        <p:spPr bwMode="auto">
          <a:xfrm>
            <a:off x="2490788" y="4057650"/>
            <a:ext cx="6470650" cy="1096963"/>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defRPr/>
            </a:pPr>
            <a:endParaRPr lang="en-US"/>
          </a:p>
        </p:txBody>
      </p:sp>
      <p:sp>
        <p:nvSpPr>
          <p:cNvPr id="12" name="AutoShape 32"/>
          <p:cNvSpPr>
            <a:spLocks noChangeArrowheads="1"/>
          </p:cNvSpPr>
          <p:nvPr/>
        </p:nvSpPr>
        <p:spPr bwMode="auto">
          <a:xfrm>
            <a:off x="2490788" y="5235575"/>
            <a:ext cx="6470650" cy="1098550"/>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defRPr/>
            </a:pPr>
            <a:endParaRPr lang="en-US"/>
          </a:p>
        </p:txBody>
      </p:sp>
      <p:sp>
        <p:nvSpPr>
          <p:cNvPr id="13" name="AutoShape 33"/>
          <p:cNvSpPr>
            <a:spLocks noChangeArrowheads="1"/>
          </p:cNvSpPr>
          <p:nvPr/>
        </p:nvSpPr>
        <p:spPr bwMode="auto">
          <a:xfrm>
            <a:off x="268288" y="5235575"/>
            <a:ext cx="2224087" cy="1098550"/>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endParaRPr lang="pt-BR" sz="1400" b="1" dirty="0">
              <a:solidFill>
                <a:schemeClr val="bg1"/>
              </a:solidFill>
            </a:endParaRPr>
          </a:p>
          <a:p>
            <a:pPr algn="ctr">
              <a:defRPr/>
            </a:pPr>
            <a:r>
              <a:rPr lang="en-US" sz="1400" b="1" dirty="0">
                <a:solidFill>
                  <a:schemeClr val="bg1"/>
                </a:solidFill>
              </a:rPr>
              <a:t>Impact</a:t>
            </a:r>
            <a:endParaRPr lang="en-US" sz="1400" b="1" dirty="0">
              <a:solidFill>
                <a:schemeClr val="bg1"/>
              </a:solidFill>
            </a:endParaRPr>
          </a:p>
          <a:p>
            <a:pPr algn="ctr">
              <a:defRPr/>
            </a:pPr>
            <a:endParaRPr lang="en-US" sz="1400" b="1" dirty="0">
              <a:solidFill>
                <a:schemeClr val="bg1"/>
              </a:solidFill>
            </a:endParaRPr>
          </a:p>
        </p:txBody>
      </p:sp>
      <p:sp>
        <p:nvSpPr>
          <p:cNvPr id="14" name="AutoShape 35"/>
          <p:cNvSpPr>
            <a:spLocks noChangeArrowheads="1"/>
          </p:cNvSpPr>
          <p:nvPr/>
        </p:nvSpPr>
        <p:spPr bwMode="auto">
          <a:xfrm>
            <a:off x="2490788" y="2889250"/>
            <a:ext cx="6470650" cy="1096963"/>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defRPr/>
            </a:pPr>
            <a:endParaRPr lang="en-US"/>
          </a:p>
        </p:txBody>
      </p:sp>
      <p:sp>
        <p:nvSpPr>
          <p:cNvPr id="15" name="AutoShape 36"/>
          <p:cNvSpPr>
            <a:spLocks noChangeArrowheads="1"/>
          </p:cNvSpPr>
          <p:nvPr/>
        </p:nvSpPr>
        <p:spPr bwMode="auto">
          <a:xfrm>
            <a:off x="268288" y="2889250"/>
            <a:ext cx="2222500" cy="1096963"/>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1400" b="1" dirty="0">
                <a:solidFill>
                  <a:schemeClr val="bg1"/>
                </a:solidFill>
              </a:rPr>
              <a:t>Challenges/Risks</a:t>
            </a:r>
            <a:endParaRPr lang="en-US" sz="1400" b="1" dirty="0">
              <a:solidFill>
                <a:schemeClr val="bg1"/>
              </a:solidFill>
            </a:endParaRPr>
          </a:p>
        </p:txBody>
      </p:sp>
      <p:sp>
        <p:nvSpPr>
          <p:cNvPr id="16" name="AutoShape 37"/>
          <p:cNvSpPr>
            <a:spLocks noChangeArrowheads="1"/>
          </p:cNvSpPr>
          <p:nvPr/>
        </p:nvSpPr>
        <p:spPr bwMode="auto">
          <a:xfrm>
            <a:off x="268288" y="4057650"/>
            <a:ext cx="2222500" cy="1096963"/>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endParaRPr lang="pt-BR" sz="1400" b="1" dirty="0">
              <a:solidFill>
                <a:schemeClr val="bg1"/>
              </a:solidFill>
            </a:endParaRPr>
          </a:p>
          <a:p>
            <a:pPr algn="ctr">
              <a:defRPr/>
            </a:pPr>
            <a:r>
              <a:rPr lang="en-US" sz="1400" b="1" dirty="0">
                <a:solidFill>
                  <a:schemeClr val="bg1"/>
                </a:solidFill>
              </a:rPr>
              <a:t>Proposed</a:t>
            </a:r>
            <a:r>
              <a:rPr lang="en-US" sz="1400" dirty="0"/>
              <a:t> </a:t>
            </a:r>
            <a:r>
              <a:rPr lang="en-US" sz="1400" b="1" dirty="0">
                <a:solidFill>
                  <a:schemeClr val="bg1"/>
                </a:solidFill>
              </a:rPr>
              <a:t>Activities</a:t>
            </a:r>
            <a:endParaRPr lang="en-US" sz="1400" b="1" dirty="0">
              <a:solidFill>
                <a:schemeClr val="bg1"/>
              </a:solidFill>
            </a:endParaRPr>
          </a:p>
          <a:p>
            <a:pPr algn="ctr">
              <a:defRPr/>
            </a:pPr>
            <a:endParaRPr lang="en-US" sz="1400" b="1" dirty="0">
              <a:solidFill>
                <a:schemeClr val="bg1"/>
              </a:solidFill>
            </a:endParaRPr>
          </a:p>
        </p:txBody>
      </p:sp>
      <p:sp>
        <p:nvSpPr>
          <p:cNvPr id="17" name="AutoShape 38"/>
          <p:cNvSpPr>
            <a:spLocks noChangeArrowheads="1"/>
          </p:cNvSpPr>
          <p:nvPr/>
        </p:nvSpPr>
        <p:spPr bwMode="auto">
          <a:xfrm>
            <a:off x="268288" y="1706563"/>
            <a:ext cx="2222500" cy="1096962"/>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1400" b="1" dirty="0">
                <a:solidFill>
                  <a:schemeClr val="bg1"/>
                </a:solidFill>
              </a:rPr>
              <a:t>Key</a:t>
            </a:r>
            <a:r>
              <a:rPr lang="en-US" sz="1400" dirty="0">
                <a:solidFill>
                  <a:schemeClr val="bg1"/>
                </a:solidFill>
              </a:rPr>
              <a:t> </a:t>
            </a:r>
            <a:r>
              <a:rPr lang="en-US" sz="1400" b="1" dirty="0">
                <a:solidFill>
                  <a:schemeClr val="bg1"/>
                </a:solidFill>
              </a:rPr>
              <a:t>Recommendations</a:t>
            </a:r>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7" name="Rectangle 2"/>
          <p:cNvSpPr>
            <a:spLocks noGrp="1" noChangeArrowheads="1"/>
          </p:cNvSpPr>
          <p:nvPr>
            <p:ph type="title"/>
          </p:nvPr>
        </p:nvSpPr>
        <p:spPr>
          <a:xfrm>
            <a:off x="274638" y="593725"/>
            <a:ext cx="7645400" cy="979488"/>
          </a:xfrm>
        </p:spPr>
        <p:txBody>
          <a:bodyPr/>
          <a:lstStyle/>
          <a:p>
            <a:pPr eaLnBrk="1" hangingPunct="1"/>
            <a:r>
              <a:rPr lang="en-US" sz="1800" b="1" smtClean="0"/>
              <a:t>Mobile Recommendations: </a:t>
            </a:r>
            <a:r>
              <a:rPr lang="en-US" sz="1800" smtClean="0"/>
              <a:t/>
            </a:r>
            <a:br>
              <a:rPr lang="en-US" sz="1800" smtClean="0"/>
            </a:br>
            <a:r>
              <a:rPr lang="en-US" sz="1800" i="1" smtClean="0"/>
              <a:t>Create a customized application based on existing HIV/AIDS frameworks</a:t>
            </a:r>
            <a:r>
              <a:rPr lang="en-US" sz="1800" b="1" i="1" smtClean="0"/>
              <a:t> </a:t>
            </a:r>
            <a:r>
              <a:rPr lang="en-US" sz="1800" i="1" smtClean="0"/>
              <a:t/>
            </a:r>
            <a:br>
              <a:rPr lang="en-US" sz="1800" i="1" smtClean="0"/>
            </a:br>
            <a:endParaRPr lang="en-US" sz="1800" i="1" smtClean="0"/>
          </a:p>
        </p:txBody>
      </p:sp>
      <p:sp>
        <p:nvSpPr>
          <p:cNvPr id="7" name="AutoShape 12"/>
          <p:cNvSpPr>
            <a:spLocks noChangeArrowheads="1"/>
          </p:cNvSpPr>
          <p:nvPr/>
        </p:nvSpPr>
        <p:spPr bwMode="auto">
          <a:xfrm>
            <a:off x="2492375" y="1706563"/>
            <a:ext cx="6469063" cy="1096962"/>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buFont typeface="Arial" pitchFamily="34" charset="0"/>
              <a:buChar char="•"/>
              <a:defRPr/>
            </a:pPr>
            <a:endParaRPr lang="en-US" sz="1200" dirty="0"/>
          </a:p>
          <a:p>
            <a:pPr lvl="4">
              <a:buFont typeface="Arial" pitchFamily="34" charset="0"/>
              <a:buChar char="•"/>
              <a:defRPr/>
            </a:pPr>
            <a:endParaRPr lang="en-US" sz="1200" dirty="0"/>
          </a:p>
        </p:txBody>
      </p:sp>
      <p:sp>
        <p:nvSpPr>
          <p:cNvPr id="11" name="AutoShape 30"/>
          <p:cNvSpPr>
            <a:spLocks noChangeArrowheads="1"/>
          </p:cNvSpPr>
          <p:nvPr/>
        </p:nvSpPr>
        <p:spPr bwMode="auto">
          <a:xfrm>
            <a:off x="2490788" y="4057650"/>
            <a:ext cx="6470650" cy="1096963"/>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defRPr/>
            </a:pPr>
            <a:endParaRPr lang="en-US"/>
          </a:p>
        </p:txBody>
      </p:sp>
      <p:sp>
        <p:nvSpPr>
          <p:cNvPr id="12" name="AutoShape 32"/>
          <p:cNvSpPr>
            <a:spLocks noChangeArrowheads="1"/>
          </p:cNvSpPr>
          <p:nvPr/>
        </p:nvSpPr>
        <p:spPr bwMode="auto">
          <a:xfrm>
            <a:off x="2490788" y="5235575"/>
            <a:ext cx="6470650" cy="1098550"/>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defRPr/>
            </a:pPr>
            <a:endParaRPr lang="en-US"/>
          </a:p>
        </p:txBody>
      </p:sp>
      <p:sp>
        <p:nvSpPr>
          <p:cNvPr id="13" name="AutoShape 33"/>
          <p:cNvSpPr>
            <a:spLocks noChangeArrowheads="1"/>
          </p:cNvSpPr>
          <p:nvPr/>
        </p:nvSpPr>
        <p:spPr bwMode="auto">
          <a:xfrm>
            <a:off x="268288" y="5235575"/>
            <a:ext cx="2224087" cy="1098550"/>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endParaRPr lang="pt-BR" sz="1400" b="1" dirty="0">
              <a:solidFill>
                <a:schemeClr val="bg1"/>
              </a:solidFill>
            </a:endParaRPr>
          </a:p>
          <a:p>
            <a:pPr algn="ctr">
              <a:defRPr/>
            </a:pPr>
            <a:r>
              <a:rPr lang="en-US" sz="1400" b="1" dirty="0">
                <a:solidFill>
                  <a:schemeClr val="bg1"/>
                </a:solidFill>
              </a:rPr>
              <a:t>Impact</a:t>
            </a:r>
            <a:endParaRPr lang="en-US" sz="1400" b="1" dirty="0">
              <a:solidFill>
                <a:schemeClr val="bg1"/>
              </a:solidFill>
            </a:endParaRPr>
          </a:p>
          <a:p>
            <a:pPr algn="ctr">
              <a:defRPr/>
            </a:pPr>
            <a:endParaRPr lang="en-US" sz="1400" b="1" dirty="0">
              <a:solidFill>
                <a:schemeClr val="bg1"/>
              </a:solidFill>
            </a:endParaRPr>
          </a:p>
        </p:txBody>
      </p:sp>
      <p:sp>
        <p:nvSpPr>
          <p:cNvPr id="14" name="AutoShape 35"/>
          <p:cNvSpPr>
            <a:spLocks noChangeArrowheads="1"/>
          </p:cNvSpPr>
          <p:nvPr/>
        </p:nvSpPr>
        <p:spPr bwMode="auto">
          <a:xfrm>
            <a:off x="2490788" y="2889250"/>
            <a:ext cx="6470650" cy="1096963"/>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defRPr/>
            </a:pPr>
            <a:endParaRPr lang="en-US"/>
          </a:p>
        </p:txBody>
      </p:sp>
      <p:sp>
        <p:nvSpPr>
          <p:cNvPr id="15" name="AutoShape 36"/>
          <p:cNvSpPr>
            <a:spLocks noChangeArrowheads="1"/>
          </p:cNvSpPr>
          <p:nvPr/>
        </p:nvSpPr>
        <p:spPr bwMode="auto">
          <a:xfrm>
            <a:off x="268288" y="2889250"/>
            <a:ext cx="2222500" cy="1096963"/>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1400" b="1" dirty="0">
                <a:solidFill>
                  <a:schemeClr val="bg1"/>
                </a:solidFill>
              </a:rPr>
              <a:t>Challenges/Risks</a:t>
            </a:r>
            <a:endParaRPr lang="en-US" sz="1400" b="1" dirty="0">
              <a:solidFill>
                <a:schemeClr val="bg1"/>
              </a:solidFill>
            </a:endParaRPr>
          </a:p>
        </p:txBody>
      </p:sp>
      <p:sp>
        <p:nvSpPr>
          <p:cNvPr id="16" name="AutoShape 37"/>
          <p:cNvSpPr>
            <a:spLocks noChangeArrowheads="1"/>
          </p:cNvSpPr>
          <p:nvPr/>
        </p:nvSpPr>
        <p:spPr bwMode="auto">
          <a:xfrm>
            <a:off x="268288" y="4057650"/>
            <a:ext cx="2222500" cy="1096963"/>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endParaRPr lang="pt-BR" sz="1400" b="1" dirty="0">
              <a:solidFill>
                <a:schemeClr val="bg1"/>
              </a:solidFill>
            </a:endParaRPr>
          </a:p>
          <a:p>
            <a:pPr algn="ctr">
              <a:defRPr/>
            </a:pPr>
            <a:r>
              <a:rPr lang="en-US" sz="1400" b="1" dirty="0">
                <a:solidFill>
                  <a:schemeClr val="bg1"/>
                </a:solidFill>
              </a:rPr>
              <a:t>Proposed</a:t>
            </a:r>
            <a:r>
              <a:rPr lang="en-US" sz="1400" dirty="0"/>
              <a:t> </a:t>
            </a:r>
            <a:r>
              <a:rPr lang="en-US" sz="1400" b="1" dirty="0">
                <a:solidFill>
                  <a:schemeClr val="bg1"/>
                </a:solidFill>
              </a:rPr>
              <a:t>Activities</a:t>
            </a:r>
            <a:endParaRPr lang="en-US" sz="1400" b="1" dirty="0">
              <a:solidFill>
                <a:schemeClr val="bg1"/>
              </a:solidFill>
            </a:endParaRPr>
          </a:p>
          <a:p>
            <a:pPr algn="ctr">
              <a:defRPr/>
            </a:pPr>
            <a:endParaRPr lang="en-US" sz="1400" b="1" dirty="0">
              <a:solidFill>
                <a:schemeClr val="bg1"/>
              </a:solidFill>
            </a:endParaRPr>
          </a:p>
        </p:txBody>
      </p:sp>
      <p:sp>
        <p:nvSpPr>
          <p:cNvPr id="17" name="AutoShape 38"/>
          <p:cNvSpPr>
            <a:spLocks noChangeArrowheads="1"/>
          </p:cNvSpPr>
          <p:nvPr/>
        </p:nvSpPr>
        <p:spPr bwMode="auto">
          <a:xfrm>
            <a:off x="268288" y="1706563"/>
            <a:ext cx="2222500" cy="1096962"/>
          </a:xfrm>
          <a:prstGeom prst="roundRect">
            <a:avLst>
              <a:gd name="adj" fmla="val 16667"/>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1400" b="1" dirty="0">
                <a:solidFill>
                  <a:schemeClr val="bg1"/>
                </a:solidFill>
              </a:rPr>
              <a:t>Key</a:t>
            </a:r>
            <a:r>
              <a:rPr lang="en-US" sz="1400" dirty="0">
                <a:solidFill>
                  <a:schemeClr val="bg1"/>
                </a:solidFill>
              </a:rPr>
              <a:t> </a:t>
            </a:r>
            <a:r>
              <a:rPr lang="en-US" sz="1400" b="1" dirty="0">
                <a:solidFill>
                  <a:schemeClr val="bg1"/>
                </a:solidFill>
              </a:rPr>
              <a:t>Recommendations</a:t>
            </a:r>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1"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34F45775-92A7-4904-B724-DCF16B99C8EF}" type="slidenum">
              <a:rPr lang="en-US" sz="800"/>
              <a:pPr/>
              <a:t>52</a:t>
            </a:fld>
            <a:endParaRPr lang="en-US" sz="800"/>
          </a:p>
        </p:txBody>
      </p:sp>
      <p:grpSp>
        <p:nvGrpSpPr>
          <p:cNvPr id="97282" name="Group 3"/>
          <p:cNvGrpSpPr>
            <a:grpSpLocks/>
          </p:cNvGrpSpPr>
          <p:nvPr/>
        </p:nvGrpSpPr>
        <p:grpSpPr bwMode="auto">
          <a:xfrm>
            <a:off x="-9525" y="1866900"/>
            <a:ext cx="8869363" cy="503238"/>
            <a:chOff x="0" y="1071"/>
            <a:chExt cx="5587" cy="317"/>
          </a:xfrm>
        </p:grpSpPr>
        <p:sp>
          <p:nvSpPr>
            <p:cNvPr id="97304" name="Oval 4"/>
            <p:cNvSpPr>
              <a:spLocks noChangeArrowheads="1"/>
            </p:cNvSpPr>
            <p:nvPr>
              <p:custDataLst>
                <p:tags r:id="rId9"/>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1</a:t>
              </a:r>
            </a:p>
          </p:txBody>
        </p:sp>
        <p:sp>
          <p:nvSpPr>
            <p:cNvPr id="97305" name="Rectangle 5"/>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97306" name="Rectangle 6"/>
            <p:cNvSpPr>
              <a:spLocks noChangeArrowheads="1"/>
            </p:cNvSpPr>
            <p:nvPr>
              <p:custDataLst>
                <p:tags r:id="rId10"/>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97307" name="Rectangle 7"/>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nalysis and Assessment</a:t>
              </a:r>
              <a:endParaRPr lang="de-DE">
                <a:solidFill>
                  <a:srgbClr val="C0C0C0"/>
                </a:solidFill>
              </a:endParaRPr>
            </a:p>
          </p:txBody>
        </p:sp>
      </p:grpSp>
      <p:grpSp>
        <p:nvGrpSpPr>
          <p:cNvPr id="97283" name="Group 8"/>
          <p:cNvGrpSpPr>
            <a:grpSpLocks/>
          </p:cNvGrpSpPr>
          <p:nvPr/>
        </p:nvGrpSpPr>
        <p:grpSpPr bwMode="auto">
          <a:xfrm>
            <a:off x="0" y="3221038"/>
            <a:ext cx="8869363" cy="503237"/>
            <a:chOff x="0" y="1071"/>
            <a:chExt cx="5587" cy="317"/>
          </a:xfrm>
        </p:grpSpPr>
        <p:sp>
          <p:nvSpPr>
            <p:cNvPr id="97300" name="Oval 9"/>
            <p:cNvSpPr>
              <a:spLocks noChangeArrowheads="1"/>
            </p:cNvSpPr>
            <p:nvPr>
              <p:custDataLst>
                <p:tags r:id="rId7"/>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3</a:t>
              </a:r>
            </a:p>
          </p:txBody>
        </p:sp>
        <p:sp>
          <p:nvSpPr>
            <p:cNvPr id="97301" name="Rectangle 1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97302" name="Rectangle 11"/>
            <p:cNvSpPr>
              <a:spLocks noChangeArrowheads="1"/>
            </p:cNvSpPr>
            <p:nvPr>
              <p:custDataLst>
                <p:tags r:id="rId8"/>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97303" name="Rectangle 1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Design Considerations</a:t>
              </a:r>
            </a:p>
          </p:txBody>
        </p:sp>
      </p:grpSp>
      <p:grpSp>
        <p:nvGrpSpPr>
          <p:cNvPr id="97284" name="Group 13"/>
          <p:cNvGrpSpPr>
            <a:grpSpLocks/>
          </p:cNvGrpSpPr>
          <p:nvPr/>
        </p:nvGrpSpPr>
        <p:grpSpPr bwMode="auto">
          <a:xfrm>
            <a:off x="0" y="2590800"/>
            <a:ext cx="8869363" cy="503238"/>
            <a:chOff x="0" y="1071"/>
            <a:chExt cx="5587" cy="317"/>
          </a:xfrm>
        </p:grpSpPr>
        <p:sp>
          <p:nvSpPr>
            <p:cNvPr id="97296" name="Oval 14"/>
            <p:cNvSpPr>
              <a:spLocks noChangeArrowheads="1"/>
            </p:cNvSpPr>
            <p:nvPr>
              <p:custDataLst>
                <p:tags r:id="rId5"/>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2</a:t>
              </a:r>
            </a:p>
          </p:txBody>
        </p:sp>
        <p:sp>
          <p:nvSpPr>
            <p:cNvPr id="97297" name="Rectangle 15"/>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97298" name="Rectangle 16"/>
            <p:cNvSpPr>
              <a:spLocks noChangeArrowheads="1"/>
            </p:cNvSpPr>
            <p:nvPr>
              <p:custDataLst>
                <p:tags r:id="rId6"/>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97299" name="Rectangle 17"/>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Design Recommendations</a:t>
              </a:r>
            </a:p>
          </p:txBody>
        </p:sp>
      </p:grpSp>
      <p:grpSp>
        <p:nvGrpSpPr>
          <p:cNvPr id="97285" name="Group 18"/>
          <p:cNvGrpSpPr>
            <a:grpSpLocks/>
          </p:cNvGrpSpPr>
          <p:nvPr/>
        </p:nvGrpSpPr>
        <p:grpSpPr bwMode="auto">
          <a:xfrm>
            <a:off x="-9525" y="3868738"/>
            <a:ext cx="8869363" cy="503237"/>
            <a:chOff x="0" y="1071"/>
            <a:chExt cx="5587" cy="317"/>
          </a:xfrm>
        </p:grpSpPr>
        <p:sp>
          <p:nvSpPr>
            <p:cNvPr id="97292" name="Oval 19"/>
            <p:cNvSpPr>
              <a:spLocks noChangeArrowheads="1"/>
            </p:cNvSpPr>
            <p:nvPr>
              <p:custDataLst>
                <p:tags r:id="rId3"/>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4</a:t>
              </a:r>
            </a:p>
          </p:txBody>
        </p:sp>
        <p:sp>
          <p:nvSpPr>
            <p:cNvPr id="97293" name="Rectangle 2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97294" name="Rectangle 21"/>
            <p:cNvSpPr>
              <a:spLocks noChangeArrowheads="1"/>
            </p:cNvSpPr>
            <p:nvPr>
              <p:custDataLst>
                <p:tags r:id="rId4"/>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97295" name="Rectangle 2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dditional Recommendations for Prioritized Projects</a:t>
              </a:r>
            </a:p>
          </p:txBody>
        </p:sp>
      </p:grpSp>
      <p:grpSp>
        <p:nvGrpSpPr>
          <p:cNvPr id="97286" name="Group 18"/>
          <p:cNvGrpSpPr>
            <a:grpSpLocks/>
          </p:cNvGrpSpPr>
          <p:nvPr/>
        </p:nvGrpSpPr>
        <p:grpSpPr bwMode="auto">
          <a:xfrm>
            <a:off x="-42863" y="4505325"/>
            <a:ext cx="8869363" cy="503238"/>
            <a:chOff x="0" y="1071"/>
            <a:chExt cx="5587" cy="317"/>
          </a:xfrm>
        </p:grpSpPr>
        <p:sp>
          <p:nvSpPr>
            <p:cNvPr id="97288" name="Oval 19"/>
            <p:cNvSpPr>
              <a:spLocks noChangeArrowheads="1"/>
            </p:cNvSpPr>
            <p:nvPr>
              <p:custDataLst>
                <p:tags r:id="rId1"/>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5</a:t>
              </a:r>
            </a:p>
          </p:txBody>
        </p:sp>
        <p:sp>
          <p:nvSpPr>
            <p:cNvPr id="97289" name="Rectangle 2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97290" name="Rectangle 21"/>
            <p:cNvSpPr>
              <a:spLocks noChangeArrowheads="1"/>
            </p:cNvSpPr>
            <p:nvPr>
              <p:custDataLst>
                <p:tags r:id="rId2"/>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97291" name="Rectangle 2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t>Appendix</a:t>
              </a:r>
            </a:p>
          </p:txBody>
        </p:sp>
      </p:grpSp>
      <p:sp>
        <p:nvSpPr>
          <p:cNvPr id="97287" name="Rectangle 34"/>
          <p:cNvSpPr>
            <a:spLocks noChangeArrowheads="1"/>
          </p:cNvSpPr>
          <p:nvPr/>
        </p:nvSpPr>
        <p:spPr bwMode="auto">
          <a:xfrm>
            <a:off x="1347788" y="5008563"/>
            <a:ext cx="4572000" cy="517525"/>
          </a:xfrm>
          <a:prstGeom prst="rect">
            <a:avLst/>
          </a:prstGeom>
          <a:noFill/>
          <a:ln w="9525">
            <a:noFill/>
            <a:miter lim="800000"/>
            <a:headEnd/>
            <a:tailEnd/>
          </a:ln>
        </p:spPr>
        <p:txBody>
          <a:bodyPr>
            <a:spAutoFit/>
          </a:bodyPr>
          <a:lstStyle/>
          <a:p>
            <a:pPr>
              <a:buClr>
                <a:srgbClr val="7889FB"/>
              </a:buClr>
              <a:buFont typeface="Wingdings" pitchFamily="2" charset="2"/>
              <a:buChar char="§"/>
            </a:pPr>
            <a:r>
              <a:rPr lang="de-DE" sz="1400"/>
              <a:t> Deliverables</a:t>
            </a:r>
          </a:p>
          <a:p>
            <a:pPr>
              <a:buClr>
                <a:srgbClr val="7889FB"/>
              </a:buClr>
              <a:buFont typeface="Wingdings" pitchFamily="2" charset="2"/>
              <a:buChar char="§"/>
            </a:pPr>
            <a:r>
              <a:rPr lang="de-DE" sz="1400"/>
              <a:t> References</a:t>
            </a:r>
            <a:endParaRPr lang="en-US" sz="1400"/>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5" name="Rectangle 2"/>
          <p:cNvSpPr>
            <a:spLocks noGrp="1" noChangeArrowheads="1"/>
          </p:cNvSpPr>
          <p:nvPr>
            <p:ph type="title"/>
          </p:nvPr>
        </p:nvSpPr>
        <p:spPr/>
        <p:txBody>
          <a:bodyPr/>
          <a:lstStyle/>
          <a:p>
            <a:r>
              <a:rPr lang="en-US" smtClean="0"/>
              <a:t>Deliverables  </a:t>
            </a:r>
          </a:p>
        </p:txBody>
      </p:sp>
      <p:sp>
        <p:nvSpPr>
          <p:cNvPr id="98306" name="Rectangle 3"/>
          <p:cNvSpPr>
            <a:spLocks noGrp="1" noChangeArrowheads="1"/>
          </p:cNvSpPr>
          <p:nvPr>
            <p:ph type="body" idx="1"/>
          </p:nvPr>
        </p:nvSpPr>
        <p:spPr>
          <a:xfrm>
            <a:off x="152400" y="895350"/>
            <a:ext cx="8686800" cy="5524500"/>
          </a:xfrm>
        </p:spPr>
        <p:txBody>
          <a:bodyPr/>
          <a:lstStyle/>
          <a:p>
            <a:pPr>
              <a:buFont typeface="Wingdings" pitchFamily="2" charset="2"/>
              <a:buNone/>
            </a:pPr>
            <a:endParaRPr lang="en-US" sz="1600" smtClean="0"/>
          </a:p>
          <a:p>
            <a:pPr>
              <a:lnSpc>
                <a:spcPct val="120000"/>
              </a:lnSpc>
            </a:pPr>
            <a:r>
              <a:rPr lang="en-US" sz="1800" smtClean="0"/>
              <a:t>Prioritized Project Assessments</a:t>
            </a:r>
          </a:p>
          <a:p>
            <a:pPr>
              <a:lnSpc>
                <a:spcPct val="120000"/>
              </a:lnSpc>
            </a:pPr>
            <a:r>
              <a:rPr lang="en-US" sz="1800" smtClean="0"/>
              <a:t>Requirements Gathering</a:t>
            </a:r>
          </a:p>
          <a:p>
            <a:pPr>
              <a:lnSpc>
                <a:spcPct val="120000"/>
              </a:lnSpc>
            </a:pPr>
            <a:r>
              <a:rPr lang="en-US" sz="1800" smtClean="0"/>
              <a:t>Solution Design Document</a:t>
            </a:r>
          </a:p>
          <a:p>
            <a:pPr>
              <a:lnSpc>
                <a:spcPct val="120000"/>
              </a:lnSpc>
            </a:pPr>
            <a:r>
              <a:rPr lang="en-US" sz="1800" smtClean="0"/>
              <a:t>IBM Data Studio Project Files</a:t>
            </a:r>
          </a:p>
          <a:p>
            <a:pPr>
              <a:lnSpc>
                <a:spcPct val="120000"/>
              </a:lnSpc>
            </a:pPr>
            <a:r>
              <a:rPr lang="en-US" sz="1800" smtClean="0"/>
              <a:t>Information Technology Assessment</a:t>
            </a:r>
          </a:p>
          <a:p>
            <a:pPr>
              <a:lnSpc>
                <a:spcPct val="120000"/>
              </a:lnSpc>
            </a:pPr>
            <a:r>
              <a:rPr lang="en-US" sz="1800" smtClean="0"/>
              <a:t>System Integration: Interfaces Overview</a:t>
            </a:r>
          </a:p>
          <a:p>
            <a:pPr>
              <a:lnSpc>
                <a:spcPct val="120000"/>
              </a:lnSpc>
            </a:pPr>
            <a:r>
              <a:rPr lang="en-US" sz="1800" smtClean="0"/>
              <a:t>Security Fundamentals Briefing</a:t>
            </a:r>
          </a:p>
          <a:p>
            <a:pPr>
              <a:lnSpc>
                <a:spcPct val="120000"/>
              </a:lnSpc>
            </a:pPr>
            <a:r>
              <a:rPr lang="en-US" sz="1800" smtClean="0"/>
              <a:t>Collaboration Tools Briefing</a:t>
            </a:r>
          </a:p>
          <a:p>
            <a:pPr>
              <a:lnSpc>
                <a:spcPct val="120000"/>
              </a:lnSpc>
            </a:pPr>
            <a:r>
              <a:rPr lang="en-US" sz="1800" smtClean="0"/>
              <a:t>Archiving/Backup Overview Document</a:t>
            </a:r>
          </a:p>
          <a:p>
            <a:pPr>
              <a:lnSpc>
                <a:spcPct val="120000"/>
              </a:lnSpc>
            </a:pPr>
            <a:r>
              <a:rPr lang="en-US" sz="1800" smtClean="0"/>
              <a:t>IT Analyst Internship Announcement</a:t>
            </a:r>
          </a:p>
          <a:p>
            <a:pPr>
              <a:lnSpc>
                <a:spcPct val="120000"/>
              </a:lnSpc>
            </a:pPr>
            <a:r>
              <a:rPr lang="en-US" sz="1800" smtClean="0"/>
              <a:t>Hardware Solutions: Wifi </a:t>
            </a:r>
          </a:p>
          <a:p>
            <a:pPr>
              <a:lnSpc>
                <a:spcPct val="120000"/>
              </a:lnSpc>
            </a:pPr>
            <a:r>
              <a:rPr lang="en-US" sz="1800" smtClean="0"/>
              <a:t>Final Presentation and Recommendations</a:t>
            </a:r>
          </a:p>
          <a:p>
            <a:pPr>
              <a:lnSpc>
                <a:spcPct val="120000"/>
              </a:lnSpc>
            </a:pPr>
            <a:r>
              <a:rPr lang="en-US" sz="1800" smtClean="0"/>
              <a:t>Swiss Chocolates and Bollywood Movies :)</a:t>
            </a:r>
            <a:endParaRPr lang="en-US" sz="1800" b="1" smtClean="0"/>
          </a:p>
          <a:p>
            <a:pPr>
              <a:lnSpc>
                <a:spcPct val="120000"/>
              </a:lnSpc>
            </a:pPr>
            <a:endParaRPr lang="en-US" smtClean="0"/>
          </a:p>
        </p:txBody>
      </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29" name="Rectangle 2"/>
          <p:cNvSpPr>
            <a:spLocks noGrp="1" noChangeArrowheads="1"/>
          </p:cNvSpPr>
          <p:nvPr>
            <p:ph type="title"/>
          </p:nvPr>
        </p:nvSpPr>
        <p:spPr/>
        <p:txBody>
          <a:bodyPr/>
          <a:lstStyle/>
          <a:p>
            <a:r>
              <a:rPr lang="en-US" smtClean="0"/>
              <a:t>References  </a:t>
            </a:r>
          </a:p>
        </p:txBody>
      </p:sp>
      <p:sp>
        <p:nvSpPr>
          <p:cNvPr id="99330" name="Rectangle 3"/>
          <p:cNvSpPr>
            <a:spLocks noGrp="1" noChangeArrowheads="1"/>
          </p:cNvSpPr>
          <p:nvPr>
            <p:ph type="body" idx="1"/>
          </p:nvPr>
        </p:nvSpPr>
        <p:spPr/>
        <p:txBody>
          <a:bodyPr/>
          <a:lstStyle/>
          <a:p>
            <a:endParaRPr lang="en-US" smtClean="0"/>
          </a:p>
        </p:txBody>
      </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3" name="Text Placeholder 4"/>
          <p:cNvSpPr>
            <a:spLocks noGrp="1"/>
          </p:cNvSpPr>
          <p:nvPr>
            <p:ph type="body" idx="4294967295"/>
          </p:nvPr>
        </p:nvSpPr>
        <p:spPr>
          <a:xfrm>
            <a:off x="182563" y="712788"/>
            <a:ext cx="7772400" cy="376237"/>
          </a:xfrm>
        </p:spPr>
        <p:txBody>
          <a:bodyPr anchor="b"/>
          <a:lstStyle/>
          <a:p>
            <a:pPr marL="0" indent="0" algn="ctr" eaLnBrk="1" hangingPunct="1">
              <a:buFont typeface="Wingdings" pitchFamily="2" charset="2"/>
              <a:buNone/>
            </a:pPr>
            <a:r>
              <a:rPr lang="en-US" sz="2000" smtClean="0"/>
              <a:t>Thank you for the opportunity to learn and contribute at ALCS</a:t>
            </a:r>
          </a:p>
        </p:txBody>
      </p:sp>
      <p:sp>
        <p:nvSpPr>
          <p:cNvPr id="100354" name="Slide Number Placeholder 2"/>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F06563FB-0B1A-4AB9-8512-FF860FD0354B}" type="slidenum">
              <a:rPr lang="en-US" sz="800"/>
              <a:pPr/>
              <a:t>55</a:t>
            </a:fld>
            <a:endParaRPr lang="en-US" sz="800"/>
          </a:p>
        </p:txBody>
      </p:sp>
      <p:sp>
        <p:nvSpPr>
          <p:cNvPr id="100355" name="AutoShape 6" descr="data:image/jpeg;base64,/9j/4AAQSkZJRgABAQAAAQABAAD/2wCEAAkGBhQSEBQUEhQUFRUVFRYXGBcYFxYZGBkaGxkXGRcaFx8gHSYfHBwkHBcYHy8gJCcpLiwsGB8xNTAqNScrLCkBCQoKDgwOGg8PGiokHyQsLCoqLC0pLCwsKSwsLzQsLCwsLCwsLCwsLCwsLCwsLCwsLCwsLCwsLCwsLCksLCwsLP/AABEIAOEA4QMBIgACEQEDEQH/xAAcAAABBQEBAQAAAAAAAAAAAAAAAQMEBQYHAgj/xABNEAACAQMDAgQEAwMGCAwHAAABAgMABBEFEiETMQYiQVEHFDJhI3GBFUKRMzVScqGzCCQ0YnN0wdEWNlNUgoOFkpOxssNDRWTC0tPw/8QAGAEAAwEBAAAAAAAAAAAAAAAAAAECAwT/xAAxEQACAgIBAwIFAgQHAAAAAAAAAQIRAxIhMUFRE/AEImFx0aHBFDORsSMyQlJigeH/2gAMAwEAAhEDEQA/AOv0tJS1wnYJS0lLQAhopaSgBaSlqJqGpLCFLBjvcIoVSzFiGOAB9lP8KErFdEsUGotnqSSqWQ8KxVgwKsrDGVYHBB5Hf3FSC1FBdi0tQ4NTVxIQD+G7oRjksgBO3nnvxT8NwGVTyu4AhW4btnBHuPWnTC0yv1ksXhRJ3haQuBtjifcVQud28HGAp7d81FtYrhzNCbpg0UqYlEUO5kaJW2spBThieQBxj75uZbVWZGYZaMkoeeCylT/FSR+tIsSIzNwpcjcc9yAFX+wAVSlxRLXJQaTdzhbV5JuoJZJY3BjjXsszIV2gYIMOPXIY/amIbq5QdV7kvtvRbtEYogNjXIhXlQGDdN1fv6j0NaNdNjCooUYQllHPBIcEjn2dv40xa6BBHF00jwnUWXBZ2O9WV1YlmLEhkU8n90VW68foTqyxFJSBxnGRkYyM8jPbNeqyNRKWiigBKWiigBKKKWgApKWigApKWigBKKKKACloooASloooAQ0UjsACSQABkk9gPUmqiy11p4utDAzxHJQl1R5V/pRqRjB/d3sueDwCKaTYm6LmqvXLWR+i0ShjFOshUttyAkinBwefOKmadd9WKOQKwEiK+0jzDcAcN9xnBqRihcMTSaMve+H5nViRETNOJJEyMBBEIkCM0bcjaCW2gnJAx6xD4QlaEhxG0otIIkYtkrLG7sWBxkcFcMOa2dFWsjRHpRZlP+Dkwnnk8jLKboBSf5MSKu1047sV2sPbGDwQW4vCcnViZzuCrbDKugMZhVQQN0TMVLAnysuckH3rXE459KpbbXJ5JAEs5BCx4meSJAV/phMl8EcgEAnjOKpTkyXjii6rmuuXEC3Govex20s0W1reO6bajWwjB/AyrAuWD52jO7AJFdKrxJCrY3KGx2yAcflmphPU0lGzBReLpibuYv07e2s7abpJEjvuntywAY44VueRzjnABqHZ+N7gqY5J4VHzkcTXf4UixxvCZRkqFiLFhsDY2gk5zjNdK6Q54HPfgc/n70gt1wRtXB4IwMHHbIq/Uj/tJ0fkwOoeIvl5bx+orYtrALOiW+52kaRQ7MRs2djk5VQcgehhDxzcC1WSS4iCx3VxFK0Zt2lkSPp7DCH2xycvhtgBPl2jmul9BcY2rgjGMDGPb8qT5ZePKvByOBwfcff70LJHvENH5HFOaWqrU7lvmIIOyzLOWPr+GIyAPTnec8GmNe1/5cRhVG1yVM756EJGB+KVBIyeOdoyDlhWSi30L2LulpmGT6VZlL7QTjjPYFgMkgZ+5/M1C0i7JASSSN3K712vuJQnBJ8q5UN5QQOwGec0qHZZUUtFIYUlLRQAUlLRQAlFFFABS0lLQAlLSUtAFV4rs3msbqKL+UkglVR7sUIA/Xt+tMeDtQjk0+3ZCAqQxo47dNkRVdX/AKJUggg1d1DbRoDIZDDCZDglzGm4kdiTjJI96tSWurJa5tFFqsSyanZKRmNre7O3kKdvQ2Ej7bjjPvVbpsiC3Ebl8vqtzGiBtqvslmKxyEg4iCx/SO+xQAc4O1eyjZxIUQuoIVyqlwD3AbGQD9jTD6JbshjMEJQtvKGNNpbvuIxgt9+9WsiqiHBswi6v0Y3VpFFuNX6UhVjsjhaNW2g5ysfVIB7DzEcA4qw8WwxRadqBt5WOelIVV8pExaMfhbfo3AbioP72fXnXDSocOOlFiTHUGxMPgYG8Y83AA5rymjQCLoiGERd+n006ee+duNuc/an6qtMNGZTVBM17dbAQzaVKYo+eG6jqm4di54B9uF9OfG7/ABfS7m3Y9WWW2V2BOZkkU/MCT+ltwz8/QUOMVsxZRh+oI0D7du/au7b/AEd2M4+2cUkGmxIxdI41ZiSWVFBJPLEkD1Pf39aXqLwGjMLcTNLpt7cEst5BPcbWBO+N45fwIl/zWTprs7MH7EtW6mvlijDzMsYwNxJwoJ9M/nxQ2mxGTqGOMycefYu7j6ecZ49PaqfxpGHhhjbtJdQKR7jcc/2Clam0gpxTZcXGoRpH1HdFj4O8kBee3P3zTySBgCCCCAQR2IPIIrncrtNbC0bk2qXTSf8AVBkgz/3wf+jVmdckxaQxmVQbRJWaKNZJDwFAAbIAyCScH0FN4iVlNpSVjp9buxHaA/hyyXDRNvTAZcEI5X04IbAPce1S1ubiW5a2WfZ0Io2eTpoXkZ/UKfKq/lU+myvURM1W/RZQyRvPPbqcxRFeoqS7csAxUN9C8ZzgmqWz8D9ZZZJJLy1+Yd3NtFcYRA/B3AAgu/LNjjLEemTcafeOdQuImIKpDCQdqgknOSSBk/l2FXtPZw4Q0lLlnOdY0O008IZLrVlCx4DxyTOqxqRhGKphFBPA4q68E6bb5ae3a9ZQghVbnqYRMh8RB1Dbfp5ye1P/ABJ/mi9/0J/81rNeNtTT/E7d9se61LiaSW5SMEKoCIsTL1JcgEZPGeM5xW0W8kavqQ6izcza4i3cdqQ3UkieVTgbdqEA5Oc559qJdcRbtLUhupJE0o4G3apCnJznOT2xXI5tQvJo9PkhYvO2mXO9txEhRZMOUODmXYuAT6nPepniK5Z5bV9LJKnS5tp3HqiMSfi7TyevgEc/vZ9cUfw6ur8h6jOw0lVnhi4gks4WtTmEoNmSS2PUMSc7gc5z65qzrlap0bLlC0lLSUhhRRRQAUtFFAGc8c6p8vBDLvaNRd23UYE/yfU84OOSCO49ajeH9Sa6Ml7LI8UUJlRbfLL0wn1vdL6ykDIU8KCMZJzVzrmkG4WIBgvTuIJuRnIifdt78Z7Z9KjXXhoNcPIrBUuImiuY8cSeUqjqc+WRQSpODlcD0BraMo613M2ndlVpWryiWGaZJlgunZYi06vtMxDwiWPpjYMLtXDNt34PfIl6H4se5dSkCmBmZdyzK8seN2DPFtHTB244YkEjI9iz8Nz/AOLxzzRPDasjJtjZZJDGpWLqksVG3IJ2jzFR2HFNR+EpTcRSyvbsYXLiZYSlzKMMqpMwbbt8w3YHm2jhap6P2yfmQ7F4nuPnEtpLVF3K0julwH6cYyA8g6YwGIwBnJ59jULTtbl6kVy6TC1uZSsRM6tjr9NYTJF0xtQlRtw7Fescjnyy9B8O3UDP1ZraUTOWnfpSiWTIIAB6pVQq4VRtwAO3JNFl4XnVLeCSaNra2eJkxGwmcQ4MCyHcVAUhSSo82wdsmh6Lx+ofMxpPGspRZjagW/zBgZzMN4PXMAdU2cpvxnLA8nggZLv7WDOYQZ1Mt/LBvEg3IY4zMdmQcRnp7dnoGPNON4TPyPy3UGfmOtv2nH+V/M7cZ9vLnP3+1V2m6c9wrzwMEZdRnuIjLG+yRGjMRyPKwBDNhvcDg0fJTa9+Aex71bW+llDK6rBqFsskryDzJKBMwY4ACKH2YOeFFaHRNVNzH1RGUjY5iLHzSJjiQrjyBu4BOSME4ziqYeDpHLtPLHIZLu3uWAiITESIvTALHjyjBP6irfQ9INsJIwwMO8tCmMGJW5aPOeVDEle2AcegqZa68dRxuyzqJfaakxj35/CkWRcHHmXOM+457VKpaxTo0asr/wBhxbp2C4a4XbIc9xtK8e3Bqs1PTIESFWWcdFVSOWMkMAfLt3gjOcDitHVZ4gH4P/WR/wDqFWpOyXFV0G4tGjkWAsJvwJC6dRjv3c8vnJIr3qPh2KaQSHqJIF2743ZGK+xI7ioOrITO+8qoKr02ZZDjvkpt7Nn/AGVJhtt115yTtiib1ALAnkj1/L707fWxUulD+naegkacLIruiowc84ThePf7+tWVZiyg3/Kq+7BE+4ZYZ54zRBBtjjcbtwudgOW4TcRj8sUmrGuDTMMjmo9zdBGjBBO99o+xwTn+yqO4lJn3AbGWdVICvuK5wWZs7dp9sVP11WLQbMBurwT2B2nk0qHZaBB7UCMDsB/Cs+Z1FuilOeptkL7mCtzlmxgtk9vTn7UwP5Abm+iWTajLJtcDGFOOR34zT1CzQTXQTd5GwqF8gDbx3X+tTtvNvRWHZgCP1GaopmJZjtZc2TeXng57fnXuxt9klsVyN8Tb+Sc4VSM59jS1Cy+oopKkoKKKKAFqt1y9eNEWPAeWRY1J5C5zlseuAO1WNUP7Tgvme3VpBJCdz+Uq0LqxC5J43HBIAzlQT2waqK7ktj0M6wuytcSSOEZum+3nA3ErhRjj7nvXu31wvD1REVU7cb3RAQRyck8AHj714/YkjOHlmDlY5EXEYX6xgk+bmll0DMMCBxmAqQSu5WwMeZc/7ar5RcgniDdAZUjyFLB8ugC7e5z2Ye2Kbj1cNJAziSPfFK+0sNoVcHLjHJxyPbNeJfDTlNgmGDM0rZj4YnbgEBhwCCcfl7VKbRy7o8rhiqSoQE2hg/H9I4wKPlD5jzYeIVkdF27eopZDvVicDOGA5U45xVpL9J/I/wDlVZpmiGEjzRsqggfhKH9hlweePtzVoRkYqXV8DV1yZi2Zo7S3nV5C7GIMGdmD72wRgkgH1BGO1WEupydZ49sbKqMzsC+VGDsBP9I/bsOakWmhRR7Mb26f0BnZgv8AVHbP3og0RELENJ5yxYbzhiwwciqbQqZX2mqsY4lQFfwY3/k5ZvqBwpI5x5e55P6U1LrBW4B24eWCEKjEgBmds7vYD+J4FWU2lYESx7lVQI2Icq3TAOBn1wfXvycHmvc2kwsGJHlaNY/q42qcrj2IPrRaCmMXetMguTtBMCoRyfNuXJz7U1d6sIpZ225IECjzNgl9wGRyAB3yBk1Im0WGUvksxICPiQ87RxvAP1DI703+z1aSXr7B1iiogfkiMEgg8HdznA7Yo4DkaHiB8Y2KzdVIwfOqMHBII3DPBGD3pYddkyN8aBev0GIck7s4BUY+nt3OasP2WuFBaRtriQFnLHcBgd/T7UfsiP2P8t1u5+vOc/l9qVxCmRbXWWZ0j2gP1JVkGThVjx5h+e5MfnVvVXZ2WyaWaQoHkwoAPAVeB37scAn8gKs80pV2GhaauXIRiO4UkfoCadpi7Zdu0sF35QZxySDwAe578VKGzNaV4tkaOweVU23oK+UMvTfBZe7HKnBHoQfevV/4w220skRjZlaJkGGw0MkgjVjyCSfPyOOBxzzM03wjHEtsrO0i2qsIgQAAWGCzY+psEgdgMnjPNRrjwvFHZfLSXG2LKBWfpKVVXDqhJADdsZPOK6Lxt+/P4MKyJFzLrCLt+ol3aNABkuVDE7OeRhWOe3FRR4ijMiFZB03tpJ/pbJVSnmBzwACcqRnJHsajaf4djCo0M2VjmklhxsZI+orK8a47p5yQM5B9ccVBk0hbZ0Jf5e3gtJLcTM6Bt0jRFXB9G3Bu4HIHuKlRj0KcpFw/iiAJI5LARtGrjacgy7emcDuDvXtS2/iaF5FjBcM0ksfmQgB4hudSewO3zD3FQH8HIIplaZ8SG3dmITgwbSD29dgJz96btNKtmlikS5VzJNcXUagpiTqJ05AvqUA9RRrChXO+xdabrcU5IjbPlVxxjKMWCsvupKN/D7ip9Vmg6ILWIRK5ZF4TcFBVc8KSAC2O2TVlWUqvg1jdchRRRSKKrxZKVsLplZlZbeVlZSVIYIxBBHIIIrAXfiCe10rTb5ZZXd3iSdHd3WZXDk5DE4cbOGXB59a6TrGn/MW8sJYqJUZCwAJAYFTjPGcGqS18BxiO1ilkeaK0IaJCFVSy52tJjlyueBwOeQa3xzjFfN5/Yymm3wetS8arDOkTxSAPdJbBj5SWddyyIpHmiz5SwPBHY1UaF4kZL7UInk6jG8jjt4XlxwULOEznCgZY4HoAOSBU68+HoknaY3MuTdxXYBWM7WjDBUyRuKYYgDOB7cmvF/8ADSKV55DLIsk1xHcLIqqHhdMgdM+xBwc+wPeqTxpUJ7D2sePVt3vEMLN8nDFMSHA3iQgYHl4Iz9+1ernXkGo26t1V32cs3En4QUYZjImPM428Nn1PFeNX8ALcPcM08im5t44Zdqp5umQQ65+knGCO35VFXRpJdUhdonEMFrNbOzgASZ2hWXBwQ4YnA7bTnHFJLHX/AF+35B7Em0+ISSRNIsL7flZLpPMDuWMsCjnGI5CAGA54Pfio8PxHLBcWr5ksmvI/xU5Rc7lbjynjjGc5HbnE7S/BRhtJbT5qZ4WjkjjVljzErgg4OMuRk43cD2qOngGOPpn5hx07J7Jcqn0Pkbv6/I+3Hbmn/hc/+g9xw/EGIx27RoWe4t3uAhYLtRFyQTg5Yt5QAOSD2FaLT70TRRyqGCyIrgMNrAEZww9COxFZY+CI4VtDHdvDLZRsglxGd0TE5Eit5cc9/wD+GshlX6A4ZlUE5YFsHsx/P37VnNR/0lRbvkdrDJH/APLvQXZJH/0/8uP05C1uqjCwj6pl2L1Cu0vjzbfbPtUxlQ5R2MvLrTxmZY0AaS/aLciJuxsDZwSFZzjALH+OMUSXEzTWPXUhluZwCQqsydIlWIUkBucEA9xWmk0mJldWjQrI29wQMM3HmP34HP2pIdIhXYFjQdNiyYH0swwxH3Iq94+CPTl5M9ouuXUxjk2MYpOpu8kYSMANs2sHLsQQAQw9fSl0XW7hvkmldGW6V8qE2lSqlgwOec45GMc8VZ6jaRW4aeO1MkmTkRKm87gdzeZlHbvzmq7R9dt5LeCYWssMSkCAuIgAHRjvXEhwuBt55yw4p8NWkKmnyx7VLKOXUoVkRXX5aU4ZQwzvX0P51Bsb7oi4jhdhGbpYrcKok8xQGRI9zBdobPJOBzV5dW9tOEedI92xSBLtDqH5CkZ4OcjHuDT09lbsq27LDgcrF5R29VXv78j70tuKY3Hm0Z+28Q3Ei267kV3uZ4HYoDwikhsBsZ/JsZHtUa/1aUrCZB1ZINQMfkXBk2oxXAzgE5xWlit7VcbegvTLSDBQBCfIz9+M/Tn9K9y21shUsIlLS9RSSo3SkfUuTyxHtT2V8IWja6hoF20ttHIzq5cbiVG0DP7oHfy/TzzkGs58TB5bHMfV/wAei/D8vn8r+XzeXntzxWhnvba02qzRw9eUhR2DSNyfsO3J4Hb3rzq1pBOyiQh3t3E6orgOGUHaSM5xz68c1MHUtq4Kkrhr3MrawPZi8uWC2KXDwLDCEWZt48pIjjO3qP2AB+57VV69rs82nX0VwDvt57YBmjETlXZGG9AzAH8jyCO1a7xLdW8unmW5Rgoj+YWPqKkoKL1BsKt9Y91JFLD4LtXhkXbJtuejJJuldmYphlJYknPvzzW0ciXzSXN/2oyeNviLIGo6rcz3F7DDJHFHaxDcGj3tKzxsxydw2rgYyOc/wqo8Kal000hdiFTZ3TklFMg2AnCN3XPqB3rYal4Qtp5urIrbyoR9sjoJFHZZApAcfY16svC1vEbcorZtkeOLLMcK/wBQP9L8zUrJDWvfQrSV376mX8O+Lrud7aTZK8dwxEiC1dYoUOdjJN+/jABJ4OTjGKs/C+uzyXLxXb9OXDkWxh2gKHwrxy5PVXb3+59MVZ2HhKCCTfF1UALMIxNL0QTnOI920dzxjFLp3hWCGXrL1HkClFaWWSUqpOSqb2O0GlKcHdIcYzVWy4opaK5zcjyX0anDSRgjuC6gj8wTSftOL/lYv/ET/fXNvGPwZe+vZbkXKRiTZ5TEWI2oid9wz9Of1rkXjDwybC8e2LiQoEO4LtB3KG7ZPbOK7sXw2PLwpc/YwlklHqj6l/acX/Kxf+In++qvXvHNnZSLHczCN2XeBskbK5Iz5VI7g1zEf4PL/wDPI/8AwW//ADqt+PSYvrce1og/hJJRj+HxzmoqV9foNzklbR3izu1ljSSM7kdVdTgjKsAVODyOD607iqTwrcKmm2ZdlUfLQcsQo/k19TV0jggEEEHsQcg/ka45KmzRO0eqzvjpiLZCBuIuYCB2yd/Az6Z7ZrRVX3zW8uI5HjJDKwXqAHcpypwCD3og6dikrVGYSbbZX0siq10C4nV1DLkHyKB6xbMY9+TT1/eOXvAmyNksonDqg3/SxK5znGBgf0c5rRXWhwyNIzpkyoI5OWG5RyAcEdvfv969HToQ7sVXdJGI2yT5kXICkE4xya03Xj3wZ6MobG9uCLS3WVd0lv1TK0e47QECoq7sM3PLE9ua8nxDctbq4UDZNLHPIkZk2iPIDom4Eg+vJxzVpPoNpHEiOqoiElCZGUqT3CuWDAH2zinm0K3eJECjpqDtCO6rg9+VYbgfXOaNo9aDWXkjal4wtbWCKW4nASUDa4RyHO0EkBQSPfBqdo2sxXUKzQPvjbIDYYZ2kqeGAPcH0rmXx9gVLKzVAFVZWAA4AAj4ArS/Br+Zrf8ArTf3r1csUVhWReaLUntqzZXCZRgO5UgfqDWKk8N3I06wtxGjdJAs65h3fybKvTd0dQNx8xA3bScVtjMvuP4ivWKxjJxKcUzlsfg09MrcC2Z10kWq75ImKzhpCMZOVwCuG9Km3PhO9kubZ3RCIW09hIHiDARBPmd52dSRs78ebbtPvwc38d/CG1kvo14bEc2B+9j8Nz+YG0/kvvW4+FHiX5zTY9xzLD+C/udoGxj+aY59w1dknJY1kTvt9jFJbaspbXwMI3tWnithiXUGm3mLzrLnoZz9eCV452/amIvAtw8FsHHWQWXyzpHNb5QiRiSrSRuuCCoyhDAoO+BjE+L7l9Z1wQwnKBuhGe4CJkySflne35YFd90nS47aCOGIYjiQKv5DuT9yckn3JoyuWNRt8vt4FGKkyl8WaA0y2ZSNJzbXEbsshXLxhHRxuYYySVYg4B2/YVSaZ4JmS4dpVZiJLuRJlkgCt1lcASDpiYkhgpBcqNoI4AFbmO+jZtqyRs39EOpP8Ac1IrlWWUVRrom7OYXngO4NvsNvDOzabDbKXkUfLyxq24pkHIYkEMuOVGcDmukWUZWNFPdUUH8wADTjSAdyB+or1Snkcuo4xSKvVbplmgA6i7mYZAQxt+HIxRxvDA4j3BgpwRj1IrH2PiaY21wCXkZ7Mzgho1ZJJEmZtuWUhVCDaq5IC+vetT4ltpJVi6GxijuzAnnaYZoyEG5cseoAMsoHcnFZ6fQSkdyGilc/LqiBRK6rKROEjgyc9NEkVCwwvLbsZIGsNa598mU7vgu9T1R0KECWNuhO+G6bRttj3bWxJkOpCncAQQWGeeM9F4im+Wuky8hFuJVcPGHVpOsz87lOBhcBR5QMe1aLxLpksnSMaI4RZRIrHBYOqrsXkDJwRuJwBk4bgGkudCIjuQY5pHKRpGcSsOqRdBhHuJIgVJggY+XHfnNENa9+QltZtvnn/wCay/8Aet//ANtFT+sPeisrXgdMi183/Gb+eZv6kP8AdJX0hXzf8Z/55m/qQf3SV1/AfzH9gzdD6PXtXBvj/wDzhB/qw/vJa7yvauDf4QH84Qf6sv8AeS1PwX87+pWX/KO6f8Lb7U7SK4muUT8FFt4mDECNVATOOE3AA8Ak5yag/CPX5rTUxaOSI5XaJ4ychZBnDD0B3LtOO4P2Fdr8H/zdZ/6rB/drXCtN/wCNH/aUn969dGPI8qyQl0XQya1po7V488MSX9qIYpjAeorM2WwUwQykAjd3BAPGRXOda+BkMMDst7iVVLASrGisQMgfVkZ7Z5q1+NPjqa16VrbMY2lQu8i8MFyVVVP7uSGyRzwMY5qu8OfBOOe2S4vLiUvLGJcJtG0Mu4bmYMWODk8D/bWeHbHjUnKk+nF2VOm6SE+BXi2VpZLOV2dOmZItxJKFSAyj/NIbOPQr96rv8IFf8etz723/ALkn++oHwN/nb/qJv/tqf/hA/wCW2/8Aq/8A7j10apfF8eCLvGO2/wANb7V4he3FyiNKuYo2DEBP3OxxGp9MBjg5PJqp+F3iCex1RbVyQkkpgkjJyFfJUMPQEPgZHcE13Lwj/N9p/q0H92tcDb/jP/2n/wC/UYsjyqcJdEuPoNx1po3n+EH/AJLa/wCmf/0VW6T45GneHLcIR8xMZ1iHfaOq+6Q/ZfT3JHsasf8ACD/yS1/0z/8Aorl7+ELk6Yt+TuhDmMLkllXcfNjsE6hYfmc+tPBCM8MVLz/UJtqTo6D8IvhwXZb+8UnJ3Qo4yWPfrPnvzyue583tns1Yf4VeORf2uyQj5iABXHbevZZB+fY+x9sitxXB8TKbyPc2xpa8EPWNKS5t5IJRlJUKn3GexH3BwR9xXztpWuT6LPf2zA73jaLj0f8A+FKPttZiP6wr6Wr57+PKgaouAObaMn7+aQc/oAP0rf4J7SeN9H+xGVdzY/A3wf0YGvJB55xtjz6RA8n/AKbD+Cj3rJ+OfF1zquofJWrEQ9XpIoJAkIOGeQjuvBIHYAZxmu4aRH/isIXj8CMDHp5FAr55+F7iHXIBLwQ8sfPo5SRB+pY4/WtMMt5TyvquhMlSUS/8RfA6S2tGnhuOrJEpd06ezIUZYxncTkAE4IGce/FaH4L+PpLndaXLF5I03xyE5ZkBAZWPqRkEE84zntXR9au0itppJMbEikZvyCnI/Xt+tcE+B1szasrDskMpb8ioQf2sKUZvNhnv26MbWklQ18Zf56l/qwf3a19FTfS35H/bXzr8aBjWZCexSA/p01H+w19CzXS9FpNw2dMvuzxt27s/ljmo+J/l4/t+B4+sj55+C388Rf6Ob+7avoG81mGJtsj7Txxtc9+3YEV8/fBb+eIv9HN/dtXfNbUnoYBOLiInGeB5uT9qfxqXqr7CxXqywhlDKGXsQCOCO/5803a3ayLuQ5GWHYjlSVPf7g1QS3Ehu1KiRcThGH4xDJj6iSemFPoAM/ek8Ph1kUSBgp63TxuADdRi3UHuRjaTxgH1NcWvBrsaaiiioLFrjPxI+GN9ealLPAiGNljAJkRT5UVTwTnuDXZaj3l+kW3eSN5IHBPIUsc+3CmtsOWWKVxInFSXJIXtXKfiz8Pby/u4pbZEZFgCEtIqndvduxPswroEfiJWkKKrEBkXcPdgSO+OxVgQCTweKeuNYCF12PkbQvB2uW4ABxxzxz+Yz6GKc8Utl1FKpKhPDtk0NnbxOAHjgiRgDkblRVOD68jvXLbL4Z3q6584UTo/OPNnqJnYZGYHbnOcHtXVrXVkkYBTw0QlBJAO0kjkHkYxz7ZFR7HxAsojZVOyQFg+RjBfbCP60gywXuAOe4pwyThs136ikoujJfFb4cPqKxy25XrxKV2scB0JyAD6MCTjPBye1ZfR/COvSwrZzSm3tQAjEtEW6fYquzLsMcbSQMcdq7Nb3IdQy5wc4ypU8EjsQDjjg+o5pyqj8TOMdaXHS10G8abs5F8N/hreWGpGWVU6ISVAwkQkg/SdoOecD+NSfi38P7u/uYZLZEZUh2EtIq872PYn2IrosuredlSN5Cn1bcYB9sk8n7CvE2uKIDMoLAEAqfKQcgEHvg80/wCIyeosnfoLSNUevD1m0VnbxPgPHBEjAHI3KiqcH15FcpPwxvv2383sTo/PdbPUTOzq784znOPSuzCvMr4UkAkgE4Hc/YVnjzSg213KcE6MJ8XPCFxqEECWyqzJIzNudV4K4HfvzVj4E8LNBpKWl2ikkTLImQylXdjjI+x/StRbylkBKlSRkqe4+xpyl6stFj7J2GquziGmfDHU9P1Dr2YjkRHO0tKi9SM91cHkZXg/cZHYV26M5AJGCQODg4+3HH8K9VE1O+6MZfbuwVGM47nHtTy5ZZWtuoRiokuuR/Fb4c3l/fLNbIjIIETLSIp3BnJ4J/zhXXKSliyyxS2iOUdlRH06EpDGjd1jRT+YUA/2iuZ/EX4QNczm6sWVZWO6SNjtDN/TRv3WPcg+vORW8164kje3KSMokuYomAEZG0rIWxlScnA5z6ULrm1WxHNKsYlBkC5y0TbWBCgckhsbQc7DwOM1jnOD3iRLV/Kzkd74W8Q3iC3uGbpZGd8sIU47FyuWf35z2z3rpPw98BR6ZAV3B5pMGSTGBx2VPUKMn7knPsBbQeIFcqI1MuemWMZDALI7orZ7EDpsT2IAPGRiqdfEjtpzyLJmSIorv5chuqoKldv/ACZHOP3uK0nlyZFrSS+hKUY8lJ8V/hpJfslxbbesi7GRjt3qCSuD2DAk9+4PfjnKaJ8O9ZmRbW5lkgtBgMrTKw2jnaiqxz9gcLXV9S1w7FaIgBobiZW2rIGWNFKn6hjO9WA+2Diplhq3Vd1WNgqYBclcZaOKRQBnP0y9/dT9qcc+SMNeOP0Bxi2cw8CfDK7stWEzIgt1M6huorNtZWEfA5z9Ndgqg0nUXYSNI0m2O4ulLbYtnTikkUA4G7hVHPfI/j5j8QN8wQwbZJFbGJODlpTckk4GR5Ihkc428ZrPLKeWVy7FRqKNDSVQ3PiIlJR0ZkKW/Wc5iDxhlnwAGJBcGEjsR5lPbNTYtWzMkIQsTH1C24eReys/HBZsgAcnaxxgHGOjL2RY0UUVBQtUniUrtBZnXajsCo5HKKzE5AAAYjkj6j7GrukNUnTsTVmRSD/GOpFIskokZdhYSKsbSPiUbWJXAkZASOFZgVAy1S72dmkbChdrOQSGAJjddu9uAF5LE5OApqVdeJreGZoD1DIqq7LHbzyYVvpY7EIxnIq1tLgSIrqGwwyAysjY+6sAw/IgVo2+rRmoryZ3w26jBZw4FpA7AAHap3HGBliDtZhnJOcc4FRrdUURh2CLb7C7SFA+1Y47hRtP0gs2Gxk5jx2+nYV5Kj2FLfkenBF0pvwgPxPKWX8Q5YgE4IP7y4xhvUYzzmplUn/DC33OFFw+x3RilrdOu5CVYBljKnBBHBq6BqZJrqWmUuhzrGJUkYK6yMx3EDIOMMPcVW3Hmt7mQcI8qlfvhhkj86009kjkF0ViOxKg17e3UjaVBHHGOOO3FPbuKijRUW5g6DZ3huphi2VwCGbk85rxpVqOhLISxYCZRycAc5wO3J5q9htEUkqiqT3IABNektlVSoUAHOQBxz3zRsFGcRgVtEkOImQk8kAsBwGNJDcJGLsjLoDGoG48jkAbu+Pv9qu7yzYoqxpEVHdXB249MYHFN6dpWwSGTaxkILADygDgKAfQU7VCoq9PYpcME2cws22NmZdw+nOfX8qhTxxm0V92ZWYbssck7uQRnsPyrVw2SKcqirgEZAAwD3qLdpCjopiDNM+3hVOcKzlm/wA0BeT7kepoUuQogyqklzMs5wFVdgLFRjHLDkZOameHJWa3UsSeWAJ7lQeKmz2aPjeitjtkA4p0DHAqW+B0MXVkkmzeM9NxIvJGGGQDwRnueDxzVZew2du7tI8cLTZJ3TNGGPG5lBcAN9OWUAn1NXdUPiud9scY3BJmMbdNS858rMUiHAXKI+ZCfKBwMkEOFt0KVJWetM0y3LRMGWSZIkcyIzL1BIzuJGCttcNIJHAO4Akkd6c/YlqNybRlY0DqJHzsDtJHuAbPDByCefqAOMioOkxo967BJoRDbW6LG2+Ibd10ASobYygcDOcbT27mLaajIbiW4KH5a7URQsFbcOkr9N3HcJLvlKkgY2pn660p31ItV0LaTTbQw9QgdIiSXO6QDbOMycA8K+7JXGM84zUmweBSvSI/HG8cud4RI0yM9sL0x6enesxe2Zk0aA3HRXYls2QrONhWNQMlSyMwbBZQSPTNM+HtOhE1vEsoLL81KREJYuCYAqs4VDIFAAJb6uMjinpadt9xbcrg2MWkRLkANgu0hG+QqXZizEgtg5Yk4xjPpUGPw/aHfEE+hYQRvlyiqXeHY27KbSWK7SMduBxUaz1+CKe7SSVVf5jITktgwwYwoBOO/pVfq86SrdsQTGW04sHR18gnG/cjKGxgE8jtz2qVGV9ym0aG4sbdAd4wJlS3OWc7gS4RDz3Jkfzd/Mcmn7bSY42ZkBBYhm87nJChFyC2DhQAB24rMX5tgiCxjhVzdWp4ieNCRINu5ggz3PbJrYR52jdjOBnGcZ9cZ5xUyTSKjTPdFJRWZYUtFFAGK8V61bm8hhE8MFxAVked5ETpxtgmIBiOoZR+4fKBhjyFz71S/tpbxDczqLU22+BusUheTqOJTvVgGdVEeBngFiOc1sDGD3AoMY7YGK1U0qM9Wc10nUla2tevNMbQTXyzOXkBDiY/LLdMCHRSjMcNgZ2Z4xW50C3RIfw5jPEWZo2L9Tap7Ir5JdVOcEkn0zxViF/t7/eoul6YsCFEzgySSEnHLSO0jdgABlsAY7AUTmpBGNMw+h6oifMBtUityL27/Cb5XI/Hfvv83Pf9atNW1xILi+6swjD2cLQBnwGIFyG6PPLZMfC88r9q1piHsP4UrIDjI7dvt+VN5E3dBo6owGuXctnDaSpJsluIYreYSM5CHpp/jJHODCc7jwCHGT2qZfwQRXUUF3KyW0dqOiZJnRXlEjCZnfcN0oTpkZOfMxH20k2hRvLJJIC5eHoFWwUEZJLqoxxvJG4+u1fandN04QwpFveQIMBpCGfA+nJAGcDAz345JPNP1FXv3wLRnP8AT9Zja20+Oa4cQyXF6szPIyOTG0pjSdshkB3ISCR+6DwalpqexFZZm+VXVIUilaQlTFsHUG8nzxCUuoJJHGMkAVtLnSkeaKU53RdTAGMHqKFbdxzwKllBjGBj2oeVeAUGc38RNE8V+JpXF8JZFt4xK6yY4+VWGMMNyOMZIByS+TxxbanpEKahZoxdFliuAV+YnVWdBB01X8TuAXwB3571sygzn1HrSFAfTtS9UehzzWrpAL9p5nS9jkf5VRI6uF2r8r0Iw2HDt9WAcksG7cWGoa30Jr4XMoiZ7GBo1L7QXCXAk6IJ5beUGF5+n7Vsyozn1Hb7flQUBxkdu32/Kj1F4Fp9TH22rC3urJbqbpA6b5uq+1TIHgzuLHG/6uTz3qw8BX/WsI23lzvnBJJLA9aTAbPIIUrwewxVrJpSG4Wc53LE0WONu1nRySMZzlB61Mx/vpSmmqKjFpnnqDnkcd+Rx+dRtR02GdVEyK6qwYbuwbBAP8GI/WsZqMYf9oSYC7WSPAHB/EGWP3OzP6mre/nULZIYllLoAoc4QHagyRg5PPHHHNGldBbWXOnaRBAWaGNE3BQxX1C7sZ59NzfxqY5BByRg8Hnjng81mdFgUXd7EFAjwvkx5eRzx29TVPH/ADO/+mH/AJrRpb6+BbUuhtJtMiaAQuoMIVF2knG1cbRnOeNo9fSmrPQreNxJFGiuAyhlz2bG4d8c7R/Cs54luArWe8BkWIsUP0sQo25HrzgVJ8PxlL6RMKmYEZkQYQN5DwP1P9tGr16havoarq84zz7ZpqOBFdmGA7hdxzyQuQvGfTJ7VhBao1hcTbfP1htY8uPMn73c/VVhp2oq+oRMCWzbqhIBPnxz/b69qNB7GtuLZZNu8btrK4znhlOVP6GnKWkrI0CiiigApaSloASlpKWgCnvZyJJeZPKqlducA47t6Y/OpEmpbcDysdgYncFB/q+5NOS2JLswcrvABAAPAGOCe1IdNAxsO3ChewYEDt39fvVcCF/aGSoRSxKh+4GAe36/ao9pdlYFY4OS31OB6n1Pc1KksssGVirBdpIA5H5dhTaaXt2YYgpuwcA8Mee/r96OAAannp7VJ6gJAyBjHfP++mJ7/csTcoOrhue2M5z7ipMGnBTH5idgYdu+6kGmDAGc4kMnYc59KOAG5759iMqgb3A5POD29OM/2VYDt96hfs3ybAxADbk4Hl9h9xU0cDn09aTAykPxDiMEtw0MywwTtDK3kYoVKgttDZKZYcjJ+1WmoeIOn0unDLOs4HTeIBl3HBXef3FKtu3njCt9s4HTLCf9l6lbi3n61zd3HSRonQFZCgEhZlCqgAJyT6U5c+HJYp7e2uPmGt/2cluksEbSdOdXVnIwp6bHaMOR2C8jBx1PFCzHeVG9tPECSXk9qFYPAkbsxxtYSDK7ec5/MCrPNcu1+zvFvb+SGFpUMNkHR4nPzKJgTRow8pY55wDkZxTnie1kkurmWOCfZcaM8cY6L56u/IjYBfK4GODjtx6VPop1yNZGdEubxlliQRO4kLBnXbtjwuQXyc4Y8DAPNSs1zmaMrc+HQylWCSKwYEMCLdAQQeeDnivPg/Tpdzm6FytzC951Pwj05klHBZ9uJB5V2qDkFRgYqXiVXfu3+B7uzcXGgQO5dowWbBblgGx2LAHB/UU9e6dHKoEigheRyRt+4III9K5V4Z8OOv7I6ltKMQ3q3O6KTsS5iWby8g9wp47U5ptrdRafpXUin6UNzN8xH0Xd1UswgZoyMsihiex9PXFW8P8Ay98/j9Sd/odRstMjhz0127jljkkk/ckk1GPhu2Jz0xy27G59uffbnb/ZTWl6InyC2zGWSIxNH+MMSFGyAGGBghSAMgEYGeRWb8N6bNDp0y3MUjPaJc20PS4lkjznfGcZBYBACM/Rn1rJLryW39DTNaRXLsZIW/BcojMSA2MFioDfSDxlhzg44pIIHF7I7QqFKfywZskeXClScencD0rB6PazFrzMMypLpMYVTDKAZFQoFORl5B9O4gFuSABiomn+HGBtg9tLtOjSJMDDJgzDftV/LzIPQHkcY9K19Nc8me30Omp4egCOgj8r43LufBwcj97jn2xTtvo8SOromGVNgOW4X2xnH696q/h/HIumWqzK6yLFtZXDBhhmABB57YrQVhK02rNkk1YtJS0lQUFFFFAC0UlLQAUUlLQAUUlFADN3OyAFY3lOQNqlAce/nZR/b61QeHvFj3CwAxqHkjEjfixcL5SzBFZ243rw2DzU7xHG5WICOSSLqfjJHjeybG2ryy5Qvt3DPI4PG6s1baC6wLE0JN10oY42VCI7ZUHkfrYCmQNudthJJwuCBk7QjHXkyk3fBotR1uRLtYI0WRmhLgE7ed+3czc7UADZwpJJUCnrPW8pL1lETwOFkAJdeVVkZDtBZWVxjyg5yMcV6v0jimNyVldzGIQsaNIcbmcYCjjn94kL25FRLRZoo7m4MRM0zB0hBBI2oscSMQcZ43MQcDceSFyVSaHbTE0vxWkvV+rIkmESiKUGRIgA2zcAHfcH8oOeBwOadt9RnaykmAidzG8kOzcVYbNyA9jyePfBGcHIqJZWbLJawhJcWxkeSZl2pI5idNyHPmLvM78dsHOOMuaxpTJEiRLI0JuHeeONgHKP1GZY+V8vVZSVBBK7gO+C2o3wSm6J9j4ggmZFjlRndA4RSGYKVDDdjO3g+uM+lQtW8Q9GQgS2OMAFJbjpSA85/dcY7cYHrzT+lXyLtiitZ4U/0AijXAJ55HtjgHkinLu6SA4jt5Hd8tiGIAEk8l3O2NSTySzZ9eamkn0Ku11JQumaEPGEkYqCAsg2HOM7Xxgjvg45x6VU/wDCdlkInt2iReDIXDLuxuCoAMucZJKjAAPOeKai0qeG0AUedrgzyRxOF8rymR4omO0cZAydu7DfTu4nwaw7uqm0uVBIyzi3CrjnJxMScEZ8oNOlz3FbK7VraCOdpVime5UM8ZENzLEJGiEYbKKUGVRVODwB6HmntI1yScNcbJEhERYI6xglx9a5DlsqyEcqO5HoKNWlcXBEnzIt+mmw26u2Xy/U6hjUyjA2bcYXls5PZ/w7ZoqzbfmdkkhYiddpyVAcoCA2G7nd3OT6nLda8i78E+1v99ukwVvPEsgQYLeZA20dgW5x+dN/tYNCk0SNKr7SNhRTgjud7KOOxGc59O9QPDVvcIqxSqFjghWEHKnqspwJRg5VdirwcHc7ceUEtX+mtFbyqESZHud4VojKIkkYM56ecyFXLsAMfV9qnVXRVurFs/E7vLKjW7KEmSMFpLdcbo4n834pJbMhxtByNo75qXqPiDok7oJNobaHMlqisfTaXmU8/cVQ+H9LkilllW2heNpl2kW4tpgOnEpeNW/cDA+U7DwzDOQDc+I4CDFMhfqR9REVYetu6gXI25UKfwxh2YKBkHg1bUdqJTlVi+HNaluIYnkgdN8YYvuhKZx6ASM+D6ZFXVVnhnTWt7OCFzlo4wp5Bx64yAAQM7cgDt2FWdZTq3RpG65FoopKkoWigUlABRRRQAUtJS0AFFJS0AFFFJQAUYpaSgAxRilooATFLSUtAGb1vxgbadIjZ3MnUcJG6dHbI23cQuZAeAD3A7Gru1vQ4XPkcqGMbFd65GSGAJ5HbjIql8UWMklzpzIjMsd0XcgZCr0nGW9hkgVlb/S7mTUo5flXQx6gh3xwwhGt/pMjy/yrswPmX6QO44FdEYRkl24MnJpnQdR1JYo5GJBZI3k2bgGIRS3A7+nfFN6Nq63EEMowpmhSUJuBYB1B/UDOM4rGaZpDIl5HNZyPdyfOFbrpq6uro/TCyZ3L5SECU/8ADrSZ7ZgtzExaS1tysxXHTVEVDavydpQjcO27cxPNDxxUXzz/AHBTdm7xRilpK5zUKKKWgBMUYopaACkoooAWjFFFABSUtJQAUUUUgCiiimAUUUUAFFFFABRRRQAUUUUAFFFFABSUUUAFAoooAWiiigAooooAKKKKACiiigAooooAKKKKAFooooA//9k="/>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US"/>
          </a:p>
        </p:txBody>
      </p:sp>
      <p:sp>
        <p:nvSpPr>
          <p:cNvPr id="100356" name="AutoShape 8" descr="data:image/jpeg;base64,/9j/4AAQSkZJRgABAQAAAQABAAD/2wCEAAkGBhQSEBQUEhQUFRUVFRYXGBcYFxYZGBkaGxkXGRcaFx8gHSYfHBwkHBcYHy8gJCcpLiwsGB8xNTAqNScrLCkBCQoKDgwOGg8PGiokHyQsLCoqLC0pLCwsKSwsLzQsLCwsLCwsLCwsLCwsLCwsLCwsLCwsLCwsLCwsLCksLCwsLP/AABEIAOEA4QMBIgACEQEDEQH/xAAcAAABBQEBAQAAAAAAAAAAAAAAAQMEBQYHAgj/xABNEAACAQMDAgQEAwMGCAwHAAABAgMABBEFEiETMQYiQVEHFDJhI3GBFUKRMzVScqGzCCQ0YnN0wdEWNlNUgoOFkpOxssNDRWTC0tPw/8QAGAEAAwEBAAAAAAAAAAAAAAAAAAECAwT/xAAxEQACAgIBAwIFAgQHAAAAAAAAAQIRAxIhMUFRE/AEImFx0aHBFDORsSMyQlJigeH/2gAMAwEAAhEDEQA/AOv0tJS1wnYJS0lLQAhopaSgBaSlqJqGpLCFLBjvcIoVSzFiGOAB9lP8KErFdEsUGotnqSSqWQ8KxVgwKsrDGVYHBB5Hf3FSC1FBdi0tQ4NTVxIQD+G7oRjksgBO3nnvxT8NwGVTyu4AhW4btnBHuPWnTC0yv1ksXhRJ3haQuBtjifcVQud28HGAp7d81FtYrhzNCbpg0UqYlEUO5kaJW2spBThieQBxj75uZbVWZGYZaMkoeeCylT/FSR+tIsSIzNwpcjcc9yAFX+wAVSlxRLXJQaTdzhbV5JuoJZJY3BjjXsszIV2gYIMOPXIY/amIbq5QdV7kvtvRbtEYogNjXIhXlQGDdN1fv6j0NaNdNjCooUYQllHPBIcEjn2dv40xa6BBHF00jwnUWXBZ2O9WV1YlmLEhkU8n90VW68foTqyxFJSBxnGRkYyM8jPbNeqyNRKWiigBKWiigBKKKWgApKWigApKWigBKKKKACloooASloooAQ0UjsACSQABkk9gPUmqiy11p4utDAzxHJQl1R5V/pRqRjB/d3sueDwCKaTYm6LmqvXLWR+i0ShjFOshUttyAkinBwefOKmadd9WKOQKwEiK+0jzDcAcN9xnBqRihcMTSaMve+H5nViRETNOJJEyMBBEIkCM0bcjaCW2gnJAx6xD4QlaEhxG0otIIkYtkrLG7sWBxkcFcMOa2dFWsjRHpRZlP+Dkwnnk8jLKboBSf5MSKu1047sV2sPbGDwQW4vCcnViZzuCrbDKugMZhVQQN0TMVLAnysuckH3rXE459KpbbXJ5JAEs5BCx4meSJAV/phMl8EcgEAnjOKpTkyXjii6rmuuXEC3Govex20s0W1reO6bajWwjB/AyrAuWD52jO7AJFdKrxJCrY3KGx2yAcflmphPU0lGzBReLpibuYv07e2s7abpJEjvuntywAY44VueRzjnABqHZ+N7gqY5J4VHzkcTXf4UixxvCZRkqFiLFhsDY2gk5zjNdK6Q54HPfgc/n70gt1wRtXB4IwMHHbIq/Uj/tJ0fkwOoeIvl5bx+orYtrALOiW+52kaRQ7MRs2djk5VQcgehhDxzcC1WSS4iCx3VxFK0Zt2lkSPp7DCH2xycvhtgBPl2jmul9BcY2rgjGMDGPb8qT5ZePKvByOBwfcff70LJHvENH5HFOaWqrU7lvmIIOyzLOWPr+GIyAPTnec8GmNe1/5cRhVG1yVM756EJGB+KVBIyeOdoyDlhWSi30L2LulpmGT6VZlL7QTjjPYFgMkgZ+5/M1C0i7JASSSN3K712vuJQnBJ8q5UN5QQOwGec0qHZZUUtFIYUlLRQAUlLRQAlFFFABS0lLQAlLSUtAFV4rs3msbqKL+UkglVR7sUIA/Xt+tMeDtQjk0+3ZCAqQxo47dNkRVdX/AKJUggg1d1DbRoDIZDDCZDglzGm4kdiTjJI96tSWurJa5tFFqsSyanZKRmNre7O3kKdvQ2Ej7bjjPvVbpsiC3Ebl8vqtzGiBtqvslmKxyEg4iCx/SO+xQAc4O1eyjZxIUQuoIVyqlwD3AbGQD9jTD6JbshjMEJQtvKGNNpbvuIxgt9+9WsiqiHBswi6v0Y3VpFFuNX6UhVjsjhaNW2g5ysfVIB7DzEcA4qw8WwxRadqBt5WOelIVV8pExaMfhbfo3AbioP72fXnXDSocOOlFiTHUGxMPgYG8Y83AA5rymjQCLoiGERd+n006ee+duNuc/an6qtMNGZTVBM17dbAQzaVKYo+eG6jqm4di54B9uF9OfG7/ABfS7m3Y9WWW2V2BOZkkU/MCT+ltwz8/QUOMVsxZRh+oI0D7du/au7b/AEd2M4+2cUkGmxIxdI41ZiSWVFBJPLEkD1Pf39aXqLwGjMLcTNLpt7cEst5BPcbWBO+N45fwIl/zWTprs7MH7EtW6mvlijDzMsYwNxJwoJ9M/nxQ2mxGTqGOMycefYu7j6ecZ49PaqfxpGHhhjbtJdQKR7jcc/2Clam0gpxTZcXGoRpH1HdFj4O8kBee3P3zTySBgCCCCAQR2IPIIrncrtNbC0bk2qXTSf8AVBkgz/3wf+jVmdckxaQxmVQbRJWaKNZJDwFAAbIAyCScH0FN4iVlNpSVjp9buxHaA/hyyXDRNvTAZcEI5X04IbAPce1S1ubiW5a2WfZ0Io2eTpoXkZ/UKfKq/lU+myvURM1W/RZQyRvPPbqcxRFeoqS7csAxUN9C8ZzgmqWz8D9ZZZJJLy1+Yd3NtFcYRA/B3AAgu/LNjjLEemTcafeOdQuImIKpDCQdqgknOSSBk/l2FXtPZw4Q0lLlnOdY0O008IZLrVlCx4DxyTOqxqRhGKphFBPA4q68E6bb5ae3a9ZQghVbnqYRMh8RB1Dbfp5ye1P/ABJ/mi9/0J/81rNeNtTT/E7d9se61LiaSW5SMEKoCIsTL1JcgEZPGeM5xW0W8kavqQ6izcza4i3cdqQ3UkieVTgbdqEA5Oc559qJdcRbtLUhupJE0o4G3apCnJznOT2xXI5tQvJo9PkhYvO2mXO9txEhRZMOUODmXYuAT6nPepniK5Z5bV9LJKnS5tp3HqiMSfi7TyevgEc/vZ9cUfw6ur8h6jOw0lVnhi4gks4WtTmEoNmSS2PUMSc7gc5z65qzrlap0bLlC0lLSUhhRRRQAUtFFAGc8c6p8vBDLvaNRd23UYE/yfU84OOSCO49ajeH9Sa6Ml7LI8UUJlRbfLL0wn1vdL6ykDIU8KCMZJzVzrmkG4WIBgvTuIJuRnIifdt78Z7Z9KjXXhoNcPIrBUuImiuY8cSeUqjqc+WRQSpODlcD0BraMo613M2ndlVpWryiWGaZJlgunZYi06vtMxDwiWPpjYMLtXDNt34PfIl6H4se5dSkCmBmZdyzK8seN2DPFtHTB244YkEjI9iz8Nz/AOLxzzRPDasjJtjZZJDGpWLqksVG3IJ2jzFR2HFNR+EpTcRSyvbsYXLiZYSlzKMMqpMwbbt8w3YHm2jhap6P2yfmQ7F4nuPnEtpLVF3K0julwH6cYyA8g6YwGIwBnJ59jULTtbl6kVy6TC1uZSsRM6tjr9NYTJF0xtQlRtw7Fescjnyy9B8O3UDP1ZraUTOWnfpSiWTIIAB6pVQq4VRtwAO3JNFl4XnVLeCSaNra2eJkxGwmcQ4MCyHcVAUhSSo82wdsmh6Lx+ofMxpPGspRZjagW/zBgZzMN4PXMAdU2cpvxnLA8nggZLv7WDOYQZ1Mt/LBvEg3IY4zMdmQcRnp7dnoGPNON4TPyPy3UGfmOtv2nH+V/M7cZ9vLnP3+1V2m6c9wrzwMEZdRnuIjLG+yRGjMRyPKwBDNhvcDg0fJTa9+Aex71bW+llDK6rBqFsskryDzJKBMwY4ACKH2YOeFFaHRNVNzH1RGUjY5iLHzSJjiQrjyBu4BOSME4ziqYeDpHLtPLHIZLu3uWAiITESIvTALHjyjBP6irfQ9INsJIwwMO8tCmMGJW5aPOeVDEle2AcegqZa68dRxuyzqJfaakxj35/CkWRcHHmXOM+457VKpaxTo0asr/wBhxbp2C4a4XbIc9xtK8e3Bqs1PTIESFWWcdFVSOWMkMAfLt3gjOcDitHVZ4gH4P/WR/wDqFWpOyXFV0G4tGjkWAsJvwJC6dRjv3c8vnJIr3qPh2KaQSHqJIF2743ZGK+xI7ioOrITO+8qoKr02ZZDjvkpt7Nn/AGVJhtt115yTtiib1ALAnkj1/L707fWxUulD+naegkacLIruiowc84ThePf7+tWVZiyg3/Kq+7BE+4ZYZ54zRBBtjjcbtwudgOW4TcRj8sUmrGuDTMMjmo9zdBGjBBO99o+xwTn+yqO4lJn3AbGWdVICvuK5wWZs7dp9sVP11WLQbMBurwT2B2nk0qHZaBB7UCMDsB/Cs+Z1FuilOeptkL7mCtzlmxgtk9vTn7UwP5Abm+iWTajLJtcDGFOOR34zT1CzQTXQTd5GwqF8gDbx3X+tTtvNvRWHZgCP1GaopmJZjtZc2TeXng57fnXuxt9klsVyN8Tb+Sc4VSM59jS1Cy+oopKkoKKKKAFqt1y9eNEWPAeWRY1J5C5zlseuAO1WNUP7Tgvme3VpBJCdz+Uq0LqxC5J43HBIAzlQT2waqK7ktj0M6wuytcSSOEZum+3nA3ErhRjj7nvXu31wvD1REVU7cb3RAQRyck8AHj714/YkjOHlmDlY5EXEYX6xgk+bmll0DMMCBxmAqQSu5WwMeZc/7ar5RcgniDdAZUjyFLB8ugC7e5z2Ye2Kbj1cNJAziSPfFK+0sNoVcHLjHJxyPbNeJfDTlNgmGDM0rZj4YnbgEBhwCCcfl7VKbRy7o8rhiqSoQE2hg/H9I4wKPlD5jzYeIVkdF27eopZDvVicDOGA5U45xVpL9J/I/wDlVZpmiGEjzRsqggfhKH9hlweePtzVoRkYqXV8DV1yZi2Zo7S3nV5C7GIMGdmD72wRgkgH1BGO1WEupydZ49sbKqMzsC+VGDsBP9I/bsOakWmhRR7Mb26f0BnZgv8AVHbP3og0RELENJ5yxYbzhiwwciqbQqZX2mqsY4lQFfwY3/k5ZvqBwpI5x5e55P6U1LrBW4B24eWCEKjEgBmds7vYD+J4FWU2lYESx7lVQI2Icq3TAOBn1wfXvycHmvc2kwsGJHlaNY/q42qcrj2IPrRaCmMXetMguTtBMCoRyfNuXJz7U1d6sIpZ225IECjzNgl9wGRyAB3yBk1Im0WGUvksxICPiQ87RxvAP1DI703+z1aSXr7B1iiogfkiMEgg8HdznA7Yo4DkaHiB8Y2KzdVIwfOqMHBII3DPBGD3pYddkyN8aBev0GIck7s4BUY+nt3OasP2WuFBaRtriQFnLHcBgd/T7UfsiP2P8t1u5+vOc/l9qVxCmRbXWWZ0j2gP1JVkGThVjx5h+e5MfnVvVXZ2WyaWaQoHkwoAPAVeB37scAn8gKs80pV2GhaauXIRiO4UkfoCadpi7Zdu0sF35QZxySDwAe578VKGzNaV4tkaOweVU23oK+UMvTfBZe7HKnBHoQfevV/4w220skRjZlaJkGGw0MkgjVjyCSfPyOOBxzzM03wjHEtsrO0i2qsIgQAAWGCzY+psEgdgMnjPNRrjwvFHZfLSXG2LKBWfpKVVXDqhJADdsZPOK6Lxt+/P4MKyJFzLrCLt+ol3aNABkuVDE7OeRhWOe3FRR4ijMiFZB03tpJ/pbJVSnmBzwACcqRnJHsajaf4djCo0M2VjmklhxsZI+orK8a47p5yQM5B9ccVBk0hbZ0Jf5e3gtJLcTM6Bt0jRFXB9G3Bu4HIHuKlRj0KcpFw/iiAJI5LARtGrjacgy7emcDuDvXtS2/iaF5FjBcM0ksfmQgB4hudSewO3zD3FQH8HIIplaZ8SG3dmITgwbSD29dgJz96btNKtmlikS5VzJNcXUagpiTqJ05AvqUA9RRrChXO+xdabrcU5IjbPlVxxjKMWCsvupKN/D7ip9Vmg6ILWIRK5ZF4TcFBVc8KSAC2O2TVlWUqvg1jdchRRRSKKrxZKVsLplZlZbeVlZSVIYIxBBHIIIrAXfiCe10rTb5ZZXd3iSdHd3WZXDk5DE4cbOGXB59a6TrGn/MW8sJYqJUZCwAJAYFTjPGcGqS18BxiO1ilkeaK0IaJCFVSy52tJjlyueBwOeQa3xzjFfN5/Yymm3wetS8arDOkTxSAPdJbBj5SWddyyIpHmiz5SwPBHY1UaF4kZL7UInk6jG8jjt4XlxwULOEznCgZY4HoAOSBU68+HoknaY3MuTdxXYBWM7WjDBUyRuKYYgDOB7cmvF/8ADSKV55DLIsk1xHcLIqqHhdMgdM+xBwc+wPeqTxpUJ7D2sePVt3vEMLN8nDFMSHA3iQgYHl4Iz9+1ernXkGo26t1V32cs3En4QUYZjImPM428Nn1PFeNX8ALcPcM08im5t44Zdqp5umQQ65+knGCO35VFXRpJdUhdonEMFrNbOzgASZ2hWXBwQ4YnA7bTnHFJLHX/AF+35B7Em0+ISSRNIsL7flZLpPMDuWMsCjnGI5CAGA54Pfio8PxHLBcWr5ksmvI/xU5Rc7lbjynjjGc5HbnE7S/BRhtJbT5qZ4WjkjjVljzErgg4OMuRk43cD2qOngGOPpn5hx07J7Jcqn0Pkbv6/I+3Hbmn/hc/+g9xw/EGIx27RoWe4t3uAhYLtRFyQTg5Yt5QAOSD2FaLT70TRRyqGCyIrgMNrAEZww9COxFZY+CI4VtDHdvDLZRsglxGd0TE5Eit5cc9/wD+GshlX6A4ZlUE5YFsHsx/P37VnNR/0lRbvkdrDJH/APLvQXZJH/0/8uP05C1uqjCwj6pl2L1Cu0vjzbfbPtUxlQ5R2MvLrTxmZY0AaS/aLciJuxsDZwSFZzjALH+OMUSXEzTWPXUhluZwCQqsydIlWIUkBucEA9xWmk0mJldWjQrI29wQMM3HmP34HP2pIdIhXYFjQdNiyYH0swwxH3Iq94+CPTl5M9ouuXUxjk2MYpOpu8kYSMANs2sHLsQQAQw9fSl0XW7hvkmldGW6V8qE2lSqlgwOec45GMc8VZ6jaRW4aeO1MkmTkRKm87gdzeZlHbvzmq7R9dt5LeCYWssMSkCAuIgAHRjvXEhwuBt55yw4p8NWkKmnyx7VLKOXUoVkRXX5aU4ZQwzvX0P51Bsb7oi4jhdhGbpYrcKok8xQGRI9zBdobPJOBzV5dW9tOEedI92xSBLtDqH5CkZ4OcjHuDT09lbsq27LDgcrF5R29VXv78j70tuKY3Hm0Z+28Q3Ei267kV3uZ4HYoDwikhsBsZ/JsZHtUa/1aUrCZB1ZINQMfkXBk2oxXAzgE5xWlit7VcbegvTLSDBQBCfIz9+M/Tn9K9y21shUsIlLS9RSSo3SkfUuTyxHtT2V8IWja6hoF20ttHIzq5cbiVG0DP7oHfy/TzzkGs58TB5bHMfV/wAei/D8vn8r+XzeXntzxWhnvba02qzRw9eUhR2DSNyfsO3J4Hb3rzq1pBOyiQh3t3E6orgOGUHaSM5xz68c1MHUtq4Kkrhr3MrawPZi8uWC2KXDwLDCEWZt48pIjjO3qP2AB+57VV69rs82nX0VwDvt57YBmjETlXZGG9AzAH8jyCO1a7xLdW8unmW5Rgoj+YWPqKkoKL1BsKt9Y91JFLD4LtXhkXbJtuejJJuldmYphlJYknPvzzW0ciXzSXN/2oyeNviLIGo6rcz3F7DDJHFHaxDcGj3tKzxsxydw2rgYyOc/wqo8Kal000hdiFTZ3TklFMg2AnCN3XPqB3rYal4Qtp5urIrbyoR9sjoJFHZZApAcfY16svC1vEbcorZtkeOLLMcK/wBQP9L8zUrJDWvfQrSV376mX8O+Lrud7aTZK8dwxEiC1dYoUOdjJN+/jABJ4OTjGKs/C+uzyXLxXb9OXDkWxh2gKHwrxy5PVXb3+59MVZ2HhKCCTfF1UALMIxNL0QTnOI920dzxjFLp3hWCGXrL1HkClFaWWSUqpOSqb2O0GlKcHdIcYzVWy4opaK5zcjyX0anDSRgjuC6gj8wTSftOL/lYv/ET/fXNvGPwZe+vZbkXKRiTZ5TEWI2oid9wz9Of1rkXjDwybC8e2LiQoEO4LtB3KG7ZPbOK7sXw2PLwpc/YwlklHqj6l/acX/Kxf+In++qvXvHNnZSLHczCN2XeBskbK5Iz5VI7g1zEf4PL/wDPI/8AwW//ADqt+PSYvrce1og/hJJRj+HxzmoqV9foNzklbR3izu1ljSSM7kdVdTgjKsAVODyOD607iqTwrcKmm2ZdlUfLQcsQo/k19TV0jggEEEHsQcg/ka45KmzRO0eqzvjpiLZCBuIuYCB2yd/Az6Z7ZrRVX3zW8uI5HjJDKwXqAHcpypwCD3og6dikrVGYSbbZX0siq10C4nV1DLkHyKB6xbMY9+TT1/eOXvAmyNksonDqg3/SxK5znGBgf0c5rRXWhwyNIzpkyoI5OWG5RyAcEdvfv969HToQ7sVXdJGI2yT5kXICkE4xya03Xj3wZ6MobG9uCLS3WVd0lv1TK0e47QECoq7sM3PLE9ua8nxDctbq4UDZNLHPIkZk2iPIDom4Eg+vJxzVpPoNpHEiOqoiElCZGUqT3CuWDAH2zinm0K3eJECjpqDtCO6rg9+VYbgfXOaNo9aDWXkjal4wtbWCKW4nASUDa4RyHO0EkBQSPfBqdo2sxXUKzQPvjbIDYYZ2kqeGAPcH0rmXx9gVLKzVAFVZWAA4AAj4ArS/Br+Zrf8ArTf3r1csUVhWReaLUntqzZXCZRgO5UgfqDWKk8N3I06wtxGjdJAs65h3fybKvTd0dQNx8xA3bScVtjMvuP4ivWKxjJxKcUzlsfg09MrcC2Z10kWq75ImKzhpCMZOVwCuG9Km3PhO9kubZ3RCIW09hIHiDARBPmd52dSRs78ebbtPvwc38d/CG1kvo14bEc2B+9j8Nz+YG0/kvvW4+FHiX5zTY9xzLD+C/udoGxj+aY59w1dknJY1kTvt9jFJbaspbXwMI3tWnithiXUGm3mLzrLnoZz9eCV452/amIvAtw8FsHHWQWXyzpHNb5QiRiSrSRuuCCoyhDAoO+BjE+L7l9Z1wQwnKBuhGe4CJkySflne35YFd90nS47aCOGIYjiQKv5DuT9yckn3JoyuWNRt8vt4FGKkyl8WaA0y2ZSNJzbXEbsshXLxhHRxuYYySVYg4B2/YVSaZ4JmS4dpVZiJLuRJlkgCt1lcASDpiYkhgpBcqNoI4AFbmO+jZtqyRs39EOpP8Ac1IrlWWUVRrom7OYXngO4NvsNvDOzabDbKXkUfLyxq24pkHIYkEMuOVGcDmukWUZWNFPdUUH8wADTjSAdyB+or1Snkcuo4xSKvVbplmgA6i7mYZAQxt+HIxRxvDA4j3BgpwRj1IrH2PiaY21wCXkZ7Mzgho1ZJJEmZtuWUhVCDaq5IC+vetT4ltpJVi6GxijuzAnnaYZoyEG5cseoAMsoHcnFZ6fQSkdyGilc/LqiBRK6rKROEjgyc9NEkVCwwvLbsZIGsNa598mU7vgu9T1R0KECWNuhO+G6bRttj3bWxJkOpCncAQQWGeeM9F4im+Wuky8hFuJVcPGHVpOsz87lOBhcBR5QMe1aLxLpksnSMaI4RZRIrHBYOqrsXkDJwRuJwBk4bgGkudCIjuQY5pHKRpGcSsOqRdBhHuJIgVJggY+XHfnNENa9+QltZtvnn/wCay/8Aet//ANtFT+sPeisrXgdMi183/Gb+eZv6kP8AdJX0hXzf8Z/55m/qQf3SV1/AfzH9gzdD6PXtXBvj/wDzhB/qw/vJa7yvauDf4QH84Qf6sv8AeS1PwX87+pWX/KO6f8Lb7U7SK4muUT8FFt4mDECNVATOOE3AA8Ak5yag/CPX5rTUxaOSI5XaJ4ychZBnDD0B3LtOO4P2Fdr8H/zdZ/6rB/drXCtN/wCNH/aUn969dGPI8qyQl0XQya1po7V488MSX9qIYpjAeorM2WwUwQykAjd3BAPGRXOda+BkMMDst7iVVLASrGisQMgfVkZ7Z5q1+NPjqa16VrbMY2lQu8i8MFyVVVP7uSGyRzwMY5qu8OfBOOe2S4vLiUvLGJcJtG0Mu4bmYMWODk8D/bWeHbHjUnKk+nF2VOm6SE+BXi2VpZLOV2dOmZItxJKFSAyj/NIbOPQr96rv8IFf8etz723/ALkn++oHwN/nb/qJv/tqf/hA/wCW2/8Aq/8A7j10apfF8eCLvGO2/wANb7V4he3FyiNKuYo2DEBP3OxxGp9MBjg5PJqp+F3iCex1RbVyQkkpgkjJyFfJUMPQEPgZHcE13Lwj/N9p/q0H92tcDb/jP/2n/wC/UYsjyqcJdEuPoNx1po3n+EH/AJLa/wCmf/0VW6T45GneHLcIR8xMZ1iHfaOq+6Q/ZfT3JHsasf8ACD/yS1/0z/8Aorl7+ELk6Yt+TuhDmMLkllXcfNjsE6hYfmc+tPBCM8MVLz/UJtqTo6D8IvhwXZb+8UnJ3Qo4yWPfrPnvzyue583tns1Yf4VeORf2uyQj5iABXHbevZZB+fY+x9sitxXB8TKbyPc2xpa8EPWNKS5t5IJRlJUKn3GexH3BwR9xXztpWuT6LPf2zA73jaLj0f8A+FKPttZiP6wr6Wr57+PKgaouAObaMn7+aQc/oAP0rf4J7SeN9H+xGVdzY/A3wf0YGvJB55xtjz6RA8n/AKbD+Cj3rJ+OfF1zquofJWrEQ9XpIoJAkIOGeQjuvBIHYAZxmu4aRH/isIXj8CMDHp5FAr55+F7iHXIBLwQ8sfPo5SRB+pY4/WtMMt5TyvquhMlSUS/8RfA6S2tGnhuOrJEpd06ezIUZYxncTkAE4IGce/FaH4L+PpLndaXLF5I03xyE5ZkBAZWPqRkEE84zntXR9au0itppJMbEikZvyCnI/Xt+tcE+B1szasrDskMpb8ioQf2sKUZvNhnv26MbWklQ18Zf56l/qwf3a19FTfS35H/bXzr8aBjWZCexSA/p01H+w19CzXS9FpNw2dMvuzxt27s/ljmo+J/l4/t+B4+sj55+C388Rf6Ob+7avoG81mGJtsj7Txxtc9+3YEV8/fBb+eIv9HN/dtXfNbUnoYBOLiInGeB5uT9qfxqXqr7CxXqywhlDKGXsQCOCO/5803a3ayLuQ5GWHYjlSVPf7g1QS3Ehu1KiRcThGH4xDJj6iSemFPoAM/ek8Ph1kUSBgp63TxuADdRi3UHuRjaTxgH1NcWvBrsaaiiioLFrjPxI+GN9ealLPAiGNljAJkRT5UVTwTnuDXZaj3l+kW3eSN5IHBPIUsc+3CmtsOWWKVxInFSXJIXtXKfiz8Pby/u4pbZEZFgCEtIqndvduxPswroEfiJWkKKrEBkXcPdgSO+OxVgQCTweKeuNYCF12PkbQvB2uW4ABxxzxz+Yz6GKc8Utl1FKpKhPDtk0NnbxOAHjgiRgDkblRVOD68jvXLbL4Z3q6584UTo/OPNnqJnYZGYHbnOcHtXVrXVkkYBTw0QlBJAO0kjkHkYxz7ZFR7HxAsojZVOyQFg+RjBfbCP60gywXuAOe4pwyThs136ikoujJfFb4cPqKxy25XrxKV2scB0JyAD6MCTjPBye1ZfR/COvSwrZzSm3tQAjEtEW6fYquzLsMcbSQMcdq7Nb3IdQy5wc4ypU8EjsQDjjg+o5pyqj8TOMdaXHS10G8abs5F8N/hreWGpGWVU6ISVAwkQkg/SdoOecD+NSfi38P7u/uYZLZEZUh2EtIq872PYn2IrosuredlSN5Cn1bcYB9sk8n7CvE2uKIDMoLAEAqfKQcgEHvg80/wCIyeosnfoLSNUevD1m0VnbxPgPHBEjAHI3KiqcH15FcpPwxvv2383sTo/PdbPUTOzq784znOPSuzCvMr4UkAkgE4Hc/YVnjzSg213KcE6MJ8XPCFxqEECWyqzJIzNudV4K4HfvzVj4E8LNBpKWl2ikkTLImQylXdjjI+x/StRbylkBKlSRkqe4+xpyl6stFj7J2GquziGmfDHU9P1Dr2YjkRHO0tKi9SM91cHkZXg/cZHYV26M5AJGCQODg4+3HH8K9VE1O+6MZfbuwVGM47nHtTy5ZZWtuoRiokuuR/Fb4c3l/fLNbIjIIETLSIp3BnJ4J/zhXXKSliyyxS2iOUdlRH06EpDGjd1jRT+YUA/2iuZ/EX4QNczm6sWVZWO6SNjtDN/TRv3WPcg+vORW8164kje3KSMokuYomAEZG0rIWxlScnA5z6ULrm1WxHNKsYlBkC5y0TbWBCgckhsbQc7DwOM1jnOD3iRLV/Kzkd74W8Q3iC3uGbpZGd8sIU47FyuWf35z2z3rpPw98BR6ZAV3B5pMGSTGBx2VPUKMn7knPsBbQeIFcqI1MuemWMZDALI7orZ7EDpsT2IAPGRiqdfEjtpzyLJmSIorv5chuqoKldv/ACZHOP3uK0nlyZFrSS+hKUY8lJ8V/hpJfslxbbesi7GRjt3qCSuD2DAk9+4PfjnKaJ8O9ZmRbW5lkgtBgMrTKw2jnaiqxz9gcLXV9S1w7FaIgBobiZW2rIGWNFKn6hjO9WA+2Diplhq3Vd1WNgqYBclcZaOKRQBnP0y9/dT9qcc+SMNeOP0Bxi2cw8CfDK7stWEzIgt1M6huorNtZWEfA5z9Ndgqg0nUXYSNI0m2O4ulLbYtnTikkUA4G7hVHPfI/j5j8QN8wQwbZJFbGJODlpTckk4GR5Ihkc428ZrPLKeWVy7FRqKNDSVQ3PiIlJR0ZkKW/Wc5iDxhlnwAGJBcGEjsR5lPbNTYtWzMkIQsTH1C24eReys/HBZsgAcnaxxgHGOjL2RY0UUVBQtUniUrtBZnXajsCo5HKKzE5AAAYjkj6j7GrukNUnTsTVmRSD/GOpFIskokZdhYSKsbSPiUbWJXAkZASOFZgVAy1S72dmkbChdrOQSGAJjddu9uAF5LE5OApqVdeJreGZoD1DIqq7LHbzyYVvpY7EIxnIq1tLgSIrqGwwyAysjY+6sAw/IgVo2+rRmoryZ3w26jBZw4FpA7AAHap3HGBliDtZhnJOcc4FRrdUURh2CLb7C7SFA+1Y47hRtP0gs2Gxk5jx2+nYV5Kj2FLfkenBF0pvwgPxPKWX8Q5YgE4IP7y4xhvUYzzmplUn/DC33OFFw+x3RilrdOu5CVYBljKnBBHBq6BqZJrqWmUuhzrGJUkYK6yMx3EDIOMMPcVW3Hmt7mQcI8qlfvhhkj86009kjkF0ViOxKg17e3UjaVBHHGOOO3FPbuKijRUW5g6DZ3huphi2VwCGbk85rxpVqOhLISxYCZRycAc5wO3J5q9htEUkqiqT3IABNektlVSoUAHOQBxz3zRsFGcRgVtEkOImQk8kAsBwGNJDcJGLsjLoDGoG48jkAbu+Pv9qu7yzYoqxpEVHdXB249MYHFN6dpWwSGTaxkILADygDgKAfQU7VCoq9PYpcME2cws22NmZdw+nOfX8qhTxxm0V92ZWYbssck7uQRnsPyrVw2SKcqirgEZAAwD3qLdpCjopiDNM+3hVOcKzlm/wA0BeT7kepoUuQogyqklzMs5wFVdgLFRjHLDkZOameHJWa3UsSeWAJ7lQeKmz2aPjeitjtkA4p0DHAqW+B0MXVkkmzeM9NxIvJGGGQDwRnueDxzVZew2du7tI8cLTZJ3TNGGPG5lBcAN9OWUAn1NXdUPiud9scY3BJmMbdNS858rMUiHAXKI+ZCfKBwMkEOFt0KVJWetM0y3LRMGWSZIkcyIzL1BIzuJGCttcNIJHAO4Akkd6c/YlqNybRlY0DqJHzsDtJHuAbPDByCefqAOMioOkxo967BJoRDbW6LG2+Ibd10ASobYygcDOcbT27mLaajIbiW4KH5a7URQsFbcOkr9N3HcJLvlKkgY2pn660p31ItV0LaTTbQw9QgdIiSXO6QDbOMycA8K+7JXGM84zUmweBSvSI/HG8cud4RI0yM9sL0x6enesxe2Zk0aA3HRXYls2QrONhWNQMlSyMwbBZQSPTNM+HtOhE1vEsoLL81KREJYuCYAqs4VDIFAAJb6uMjinpadt9xbcrg2MWkRLkANgu0hG+QqXZizEgtg5Yk4xjPpUGPw/aHfEE+hYQRvlyiqXeHY27KbSWK7SMduBxUaz1+CKe7SSVVf5jITktgwwYwoBOO/pVfq86SrdsQTGW04sHR18gnG/cjKGxgE8jtz2qVGV9ym0aG4sbdAd4wJlS3OWc7gS4RDz3Jkfzd/Mcmn7bSY42ZkBBYhm87nJChFyC2DhQAB24rMX5tgiCxjhVzdWp4ieNCRINu5ggz3PbJrYR52jdjOBnGcZ9cZ5xUyTSKjTPdFJRWZYUtFFAGK8V61bm8hhE8MFxAVked5ETpxtgmIBiOoZR+4fKBhjyFz71S/tpbxDczqLU22+BusUheTqOJTvVgGdVEeBngFiOc1sDGD3AoMY7YGK1U0qM9Wc10nUla2tevNMbQTXyzOXkBDiY/LLdMCHRSjMcNgZ2Z4xW50C3RIfw5jPEWZo2L9Tap7Ir5JdVOcEkn0zxViF/t7/eoul6YsCFEzgySSEnHLSO0jdgABlsAY7AUTmpBGNMw+h6oifMBtUityL27/Cb5XI/Hfvv83Pf9atNW1xILi+6swjD2cLQBnwGIFyG6PPLZMfC88r9q1piHsP4UrIDjI7dvt+VN5E3dBo6owGuXctnDaSpJsluIYreYSM5CHpp/jJHODCc7jwCHGT2qZfwQRXUUF3KyW0dqOiZJnRXlEjCZnfcN0oTpkZOfMxH20k2hRvLJJIC5eHoFWwUEZJLqoxxvJG4+u1fandN04QwpFveQIMBpCGfA+nJAGcDAz345JPNP1FXv3wLRnP8AT9Zja20+Oa4cQyXF6szPIyOTG0pjSdshkB3ISCR+6DwalpqexFZZm+VXVIUilaQlTFsHUG8nzxCUuoJJHGMkAVtLnSkeaKU53RdTAGMHqKFbdxzwKllBjGBj2oeVeAUGc38RNE8V+JpXF8JZFt4xK6yY4+VWGMMNyOMZIByS+TxxbanpEKahZoxdFliuAV+YnVWdBB01X8TuAXwB3571sygzn1HrSFAfTtS9UehzzWrpAL9p5nS9jkf5VRI6uF2r8r0Iw2HDt9WAcksG7cWGoa30Jr4XMoiZ7GBo1L7QXCXAk6IJ5beUGF5+n7Vsyozn1Hb7flQUBxkdu32/Kj1F4Fp9TH22rC3urJbqbpA6b5uq+1TIHgzuLHG/6uTz3qw8BX/WsI23lzvnBJJLA9aTAbPIIUrwewxVrJpSG4Wc53LE0WONu1nRySMZzlB61Mx/vpSmmqKjFpnnqDnkcd+Rx+dRtR02GdVEyK6qwYbuwbBAP8GI/WsZqMYf9oSYC7WSPAHB/EGWP3OzP6mre/nULZIYllLoAoc4QHagyRg5PPHHHNGldBbWXOnaRBAWaGNE3BQxX1C7sZ59NzfxqY5BByRg8Hnjng81mdFgUXd7EFAjwvkx5eRzx29TVPH/ADO/+mH/AJrRpb6+BbUuhtJtMiaAQuoMIVF2knG1cbRnOeNo9fSmrPQreNxJFGiuAyhlz2bG4d8c7R/Cs54luArWe8BkWIsUP0sQo25HrzgVJ8PxlL6RMKmYEZkQYQN5DwP1P9tGr16havoarq84zz7ZpqOBFdmGA7hdxzyQuQvGfTJ7VhBao1hcTbfP1htY8uPMn73c/VVhp2oq+oRMCWzbqhIBPnxz/b69qNB7GtuLZZNu8btrK4znhlOVP6GnKWkrI0CiiigApaSloASlpKWgCnvZyJJeZPKqlducA47t6Y/OpEmpbcDysdgYncFB/q+5NOS2JLswcrvABAAPAGOCe1IdNAxsO3ChewYEDt39fvVcCF/aGSoRSxKh+4GAe36/ao9pdlYFY4OS31OB6n1Pc1KksssGVirBdpIA5H5dhTaaXt2YYgpuwcA8Mee/r96OAAannp7VJ6gJAyBjHfP++mJ7/csTcoOrhue2M5z7ipMGnBTH5idgYdu+6kGmDAGc4kMnYc59KOAG5759iMqgb3A5POD29OM/2VYDt96hfs3ybAxADbk4Hl9h9xU0cDn09aTAykPxDiMEtw0MywwTtDK3kYoVKgttDZKZYcjJ+1WmoeIOn0unDLOs4HTeIBl3HBXef3FKtu3njCt9s4HTLCf9l6lbi3n61zd3HSRonQFZCgEhZlCqgAJyT6U5c+HJYp7e2uPmGt/2cluksEbSdOdXVnIwp6bHaMOR2C8jBx1PFCzHeVG9tPECSXk9qFYPAkbsxxtYSDK7ec5/MCrPNcu1+zvFvb+SGFpUMNkHR4nPzKJgTRow8pY55wDkZxTnie1kkurmWOCfZcaM8cY6L56u/IjYBfK4GODjtx6VPop1yNZGdEubxlliQRO4kLBnXbtjwuQXyc4Y8DAPNSs1zmaMrc+HQylWCSKwYEMCLdAQQeeDnivPg/Tpdzm6FytzC951Pwj05klHBZ9uJB5V2qDkFRgYqXiVXfu3+B7uzcXGgQO5dowWbBblgGx2LAHB/UU9e6dHKoEigheRyRt+4III9K5V4Z8OOv7I6ltKMQ3q3O6KTsS5iWby8g9wp47U5ptrdRafpXUin6UNzN8xH0Xd1UswgZoyMsihiex9PXFW8P8Ay98/j9Sd/odRstMjhz0127jljkkk/ckk1GPhu2Jz0xy27G59uffbnb/ZTWl6InyC2zGWSIxNH+MMSFGyAGGBghSAMgEYGeRWb8N6bNDp0y3MUjPaJc20PS4lkjznfGcZBYBACM/Rn1rJLryW39DTNaRXLsZIW/BcojMSA2MFioDfSDxlhzg44pIIHF7I7QqFKfywZskeXClScencD0rB6PazFrzMMypLpMYVTDKAZFQoFORl5B9O4gFuSABiomn+HGBtg9tLtOjSJMDDJgzDftV/LzIPQHkcY9K19Nc8me30Omp4egCOgj8r43LufBwcj97jn2xTtvo8SOromGVNgOW4X2xnH696q/h/HIumWqzK6yLFtZXDBhhmABB57YrQVhK02rNkk1YtJS0lQUFFFFAC0UlLQAUUlLQAUUlFADN3OyAFY3lOQNqlAce/nZR/b61QeHvFj3CwAxqHkjEjfixcL5SzBFZ243rw2DzU7xHG5WICOSSLqfjJHjeybG2ryy5Qvt3DPI4PG6s1baC6wLE0JN10oY42VCI7ZUHkfrYCmQNudthJJwuCBk7QjHXkyk3fBotR1uRLtYI0WRmhLgE7ed+3czc7UADZwpJJUCnrPW8pL1lETwOFkAJdeVVkZDtBZWVxjyg5yMcV6v0jimNyVldzGIQsaNIcbmcYCjjn94kL25FRLRZoo7m4MRM0zB0hBBI2oscSMQcZ43MQcDceSFyVSaHbTE0vxWkvV+rIkmESiKUGRIgA2zcAHfcH8oOeBwOadt9RnaykmAidzG8kOzcVYbNyA9jyePfBGcHIqJZWbLJawhJcWxkeSZl2pI5idNyHPmLvM78dsHOOMuaxpTJEiRLI0JuHeeONgHKP1GZY+V8vVZSVBBK7gO+C2o3wSm6J9j4ggmZFjlRndA4RSGYKVDDdjO3g+uM+lQtW8Q9GQgS2OMAFJbjpSA85/dcY7cYHrzT+lXyLtiitZ4U/0AijXAJ55HtjgHkinLu6SA4jt5Hd8tiGIAEk8l3O2NSTySzZ9eamkn0Ku11JQumaEPGEkYqCAsg2HOM7Xxgjvg45x6VU/wDCdlkInt2iReDIXDLuxuCoAMucZJKjAAPOeKai0qeG0AUedrgzyRxOF8rymR4omO0cZAydu7DfTu4nwaw7uqm0uVBIyzi3CrjnJxMScEZ8oNOlz3FbK7VraCOdpVime5UM8ZENzLEJGiEYbKKUGVRVODwB6HmntI1yScNcbJEhERYI6xglx9a5DlsqyEcqO5HoKNWlcXBEnzIt+mmw26u2Xy/U6hjUyjA2bcYXls5PZ/w7ZoqzbfmdkkhYiddpyVAcoCA2G7nd3OT6nLda8i78E+1v99ukwVvPEsgQYLeZA20dgW5x+dN/tYNCk0SNKr7SNhRTgjud7KOOxGc59O9QPDVvcIqxSqFjghWEHKnqspwJRg5VdirwcHc7ceUEtX+mtFbyqESZHud4VojKIkkYM56ecyFXLsAMfV9qnVXRVurFs/E7vLKjW7KEmSMFpLdcbo4n834pJbMhxtByNo75qXqPiDok7oJNobaHMlqisfTaXmU8/cVQ+H9LkilllW2heNpl2kW4tpgOnEpeNW/cDA+U7DwzDOQDc+I4CDFMhfqR9REVYetu6gXI25UKfwxh2YKBkHg1bUdqJTlVi+HNaluIYnkgdN8YYvuhKZx6ASM+D6ZFXVVnhnTWt7OCFzlo4wp5Bx64yAAQM7cgDt2FWdZTq3RpG65FoopKkoWigUlABRRRQAUtJS0AFFJS0AFFFJQAUYpaSgAxRilooATFLSUtAGb1vxgbadIjZ3MnUcJG6dHbI23cQuZAeAD3A7Gru1vQ4XPkcqGMbFd65GSGAJ5HbjIql8UWMklzpzIjMsd0XcgZCr0nGW9hkgVlb/S7mTUo5flXQx6gh3xwwhGt/pMjy/yrswPmX6QO44FdEYRkl24MnJpnQdR1JYo5GJBZI3k2bgGIRS3A7+nfFN6Nq63EEMowpmhSUJuBYB1B/UDOM4rGaZpDIl5HNZyPdyfOFbrpq6uro/TCyZ3L5SECU/8ADrSZ7ZgtzExaS1tysxXHTVEVDavydpQjcO27cxPNDxxUXzz/AHBTdm7xRilpK5zUKKKWgBMUYopaACkoooAWjFFFABSUtJQAUUUUgCiiimAUUUUAFFFFABRRRQAUUUUAFFFFABSUUUAFAoooAWiiigAooooAKKKKACiiigAooooAKKKKAFooooA//9k="/>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US"/>
          </a:p>
        </p:txBody>
      </p:sp>
      <p:pic>
        <p:nvPicPr>
          <p:cNvPr id="100357" name="Picture 10" descr="https://encrypted-tbn1.gstatic.com/images?q=tbn:ANd9GcQBBDeimdSvQiMCpqd6LEutXUseQvrEyuswZ1U92TIMFJOupljQhQ"/>
          <p:cNvPicPr>
            <a:picLocks noChangeAspect="1" noChangeArrowheads="1"/>
          </p:cNvPicPr>
          <p:nvPr/>
        </p:nvPicPr>
        <p:blipFill>
          <a:blip r:embed="rId2"/>
          <a:srcRect/>
          <a:stretch>
            <a:fillRect/>
          </a:stretch>
        </p:blipFill>
        <p:spPr bwMode="auto">
          <a:xfrm>
            <a:off x="5386388" y="1676400"/>
            <a:ext cx="3622675" cy="3811588"/>
          </a:xfrm>
          <a:prstGeom prst="rect">
            <a:avLst/>
          </a:prstGeom>
          <a:noFill/>
          <a:ln w="9525">
            <a:noFill/>
            <a:miter lim="800000"/>
            <a:headEnd/>
            <a:tailEnd/>
          </a:ln>
        </p:spPr>
      </p:pic>
      <p:pic>
        <p:nvPicPr>
          <p:cNvPr id="100358" name="Picture 2"/>
          <p:cNvPicPr>
            <a:picLocks noChangeAspect="1" noChangeArrowheads="1"/>
          </p:cNvPicPr>
          <p:nvPr/>
        </p:nvPicPr>
        <p:blipFill>
          <a:blip r:embed="rId3"/>
          <a:srcRect/>
          <a:stretch>
            <a:fillRect/>
          </a:stretch>
        </p:blipFill>
        <p:spPr bwMode="auto">
          <a:xfrm>
            <a:off x="182563" y="1676400"/>
            <a:ext cx="5106987" cy="381158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5" name="Title 1"/>
          <p:cNvSpPr>
            <a:spLocks noGrp="1"/>
          </p:cNvSpPr>
          <p:nvPr>
            <p:ph type="title" idx="4294967295"/>
          </p:nvPr>
        </p:nvSpPr>
        <p:spPr>
          <a:xfrm>
            <a:off x="228600" y="550863"/>
            <a:ext cx="6858000" cy="407987"/>
          </a:xfrm>
        </p:spPr>
        <p:txBody>
          <a:bodyPr/>
          <a:lstStyle/>
          <a:p>
            <a:pPr eaLnBrk="1" hangingPunct="1"/>
            <a:r>
              <a:rPr lang="en-US" smtClean="0"/>
              <a:t>Our Approach   </a:t>
            </a:r>
          </a:p>
        </p:txBody>
      </p:sp>
      <p:sp>
        <p:nvSpPr>
          <p:cNvPr id="47106" name="Slide Number Placeholder 2"/>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B286D1EB-FD7D-4886-81DC-2A9D66402ACA}" type="slidenum">
              <a:rPr lang="en-US" sz="800"/>
              <a:pPr/>
              <a:t>6</a:t>
            </a:fld>
            <a:endParaRPr lang="en-US" sz="800"/>
          </a:p>
        </p:txBody>
      </p:sp>
      <p:sp>
        <p:nvSpPr>
          <p:cNvPr id="47107" name="Rectangle 51"/>
          <p:cNvSpPr>
            <a:spLocks noChangeArrowheads="1"/>
          </p:cNvSpPr>
          <p:nvPr/>
        </p:nvSpPr>
        <p:spPr bwMode="auto">
          <a:xfrm>
            <a:off x="533400" y="3263900"/>
            <a:ext cx="2057400" cy="1701800"/>
          </a:xfrm>
          <a:prstGeom prst="rect">
            <a:avLst/>
          </a:prstGeom>
          <a:noFill/>
          <a:ln w="9525">
            <a:noFill/>
            <a:miter lim="800000"/>
            <a:headEnd/>
            <a:tailEnd/>
          </a:ln>
        </p:spPr>
        <p:txBody>
          <a:bodyPr/>
          <a:lstStyle/>
          <a:p>
            <a:pPr marL="168275" indent="-168275">
              <a:lnSpc>
                <a:spcPct val="95000"/>
              </a:lnSpc>
              <a:spcBef>
                <a:spcPct val="15000"/>
              </a:spcBef>
              <a:buClr>
                <a:srgbClr val="000000"/>
              </a:buClr>
              <a:buFont typeface="Wingdings" pitchFamily="2" charset="2"/>
              <a:buChar char="§"/>
            </a:pPr>
            <a:r>
              <a:rPr lang="en-US" sz="1000">
                <a:solidFill>
                  <a:srgbClr val="000000"/>
                </a:solidFill>
              </a:rPr>
              <a:t>Conduct kick off meeting</a:t>
            </a:r>
          </a:p>
          <a:p>
            <a:pPr marL="168275" indent="-168275">
              <a:lnSpc>
                <a:spcPct val="95000"/>
              </a:lnSpc>
              <a:spcBef>
                <a:spcPct val="15000"/>
              </a:spcBef>
              <a:buClr>
                <a:srgbClr val="000000"/>
              </a:buClr>
              <a:buFont typeface="Wingdings" pitchFamily="2" charset="2"/>
              <a:buChar char="§"/>
            </a:pPr>
            <a:r>
              <a:rPr lang="en-US" sz="1000">
                <a:solidFill>
                  <a:srgbClr val="000000"/>
                </a:solidFill>
              </a:rPr>
              <a:t>Participate in section site visit</a:t>
            </a:r>
          </a:p>
          <a:p>
            <a:pPr marL="168275" indent="-168275">
              <a:lnSpc>
                <a:spcPct val="95000"/>
              </a:lnSpc>
              <a:spcBef>
                <a:spcPct val="15000"/>
              </a:spcBef>
              <a:buClr>
                <a:srgbClr val="000000"/>
              </a:buClr>
              <a:buFont typeface="Wingdings" pitchFamily="2" charset="2"/>
              <a:buChar char="§"/>
            </a:pPr>
            <a:r>
              <a:rPr lang="en-US" sz="1000">
                <a:solidFill>
                  <a:srgbClr val="000000"/>
                </a:solidFill>
              </a:rPr>
              <a:t>Learn ALCS priorities, including 7 proposed projects</a:t>
            </a:r>
          </a:p>
          <a:p>
            <a:pPr marL="168275" indent="-168275">
              <a:lnSpc>
                <a:spcPct val="95000"/>
              </a:lnSpc>
              <a:spcBef>
                <a:spcPct val="15000"/>
              </a:spcBef>
              <a:buClr>
                <a:srgbClr val="000000"/>
              </a:buClr>
              <a:buFont typeface="Wingdings" pitchFamily="2" charset="2"/>
              <a:buChar char="§"/>
            </a:pPr>
            <a:r>
              <a:rPr lang="en-US" sz="1000">
                <a:solidFill>
                  <a:srgbClr val="000000"/>
                </a:solidFill>
              </a:rPr>
              <a:t>Finalize scope, approach deliverables</a:t>
            </a:r>
          </a:p>
          <a:p>
            <a:pPr marL="168275" indent="-168275">
              <a:lnSpc>
                <a:spcPct val="95000"/>
              </a:lnSpc>
              <a:spcBef>
                <a:spcPct val="15000"/>
              </a:spcBef>
              <a:buClr>
                <a:srgbClr val="000000"/>
              </a:buClr>
              <a:buFont typeface="Wingdings" pitchFamily="2" charset="2"/>
              <a:buChar char="§"/>
            </a:pPr>
            <a:r>
              <a:rPr lang="en-US" sz="1000">
                <a:solidFill>
                  <a:srgbClr val="000000"/>
                </a:solidFill>
              </a:rPr>
              <a:t>Define communications method and meeting schedule</a:t>
            </a:r>
          </a:p>
          <a:p>
            <a:pPr marL="168275" indent="-168275">
              <a:lnSpc>
                <a:spcPct val="95000"/>
              </a:lnSpc>
              <a:spcBef>
                <a:spcPct val="15000"/>
              </a:spcBef>
              <a:buClr>
                <a:srgbClr val="000000"/>
              </a:buClr>
              <a:buFont typeface="Wingdings" pitchFamily="2" charset="2"/>
              <a:buNone/>
            </a:pPr>
            <a:endParaRPr lang="en-US" sz="1000">
              <a:solidFill>
                <a:srgbClr val="000000"/>
              </a:solidFill>
            </a:endParaRPr>
          </a:p>
        </p:txBody>
      </p:sp>
      <p:sp>
        <p:nvSpPr>
          <p:cNvPr id="47108" name="TextBox 20"/>
          <p:cNvSpPr txBox="1">
            <a:spLocks noChangeArrowheads="1"/>
          </p:cNvSpPr>
          <p:nvPr/>
        </p:nvSpPr>
        <p:spPr bwMode="auto">
          <a:xfrm>
            <a:off x="200025" y="2984500"/>
            <a:ext cx="866775" cy="276225"/>
          </a:xfrm>
          <a:prstGeom prst="rect">
            <a:avLst/>
          </a:prstGeom>
          <a:noFill/>
          <a:ln w="9525">
            <a:noFill/>
            <a:miter lim="800000"/>
            <a:headEnd/>
            <a:tailEnd/>
          </a:ln>
        </p:spPr>
        <p:txBody>
          <a:bodyPr wrap="none">
            <a:spAutoFit/>
          </a:bodyPr>
          <a:lstStyle/>
          <a:p>
            <a:r>
              <a:rPr lang="en-US" sz="1200" b="1"/>
              <a:t>Activities</a:t>
            </a:r>
          </a:p>
        </p:txBody>
      </p:sp>
      <p:sp>
        <p:nvSpPr>
          <p:cNvPr id="47109" name="TextBox 21"/>
          <p:cNvSpPr txBox="1">
            <a:spLocks noChangeArrowheads="1"/>
          </p:cNvSpPr>
          <p:nvPr/>
        </p:nvSpPr>
        <p:spPr bwMode="auto">
          <a:xfrm>
            <a:off x="228600" y="4660900"/>
            <a:ext cx="1089025" cy="276225"/>
          </a:xfrm>
          <a:prstGeom prst="rect">
            <a:avLst/>
          </a:prstGeom>
          <a:noFill/>
          <a:ln w="9525">
            <a:noFill/>
            <a:miter lim="800000"/>
            <a:headEnd/>
            <a:tailEnd/>
          </a:ln>
        </p:spPr>
        <p:txBody>
          <a:bodyPr wrap="none">
            <a:spAutoFit/>
          </a:bodyPr>
          <a:lstStyle/>
          <a:p>
            <a:r>
              <a:rPr lang="en-US" sz="1200" b="1"/>
              <a:t>Deliverables</a:t>
            </a:r>
          </a:p>
        </p:txBody>
      </p:sp>
      <p:sp>
        <p:nvSpPr>
          <p:cNvPr id="47110" name="TextBox 22"/>
          <p:cNvSpPr txBox="1">
            <a:spLocks noChangeArrowheads="1"/>
          </p:cNvSpPr>
          <p:nvPr/>
        </p:nvSpPr>
        <p:spPr bwMode="auto">
          <a:xfrm>
            <a:off x="228600" y="5851525"/>
            <a:ext cx="541338" cy="277813"/>
          </a:xfrm>
          <a:prstGeom prst="rect">
            <a:avLst/>
          </a:prstGeom>
          <a:noFill/>
          <a:ln w="9525">
            <a:noFill/>
            <a:miter lim="800000"/>
            <a:headEnd/>
            <a:tailEnd/>
          </a:ln>
        </p:spPr>
        <p:txBody>
          <a:bodyPr wrap="none">
            <a:spAutoFit/>
          </a:bodyPr>
          <a:lstStyle/>
          <a:p>
            <a:r>
              <a:rPr lang="en-US" sz="1200" b="1"/>
              <a:t>Time</a:t>
            </a:r>
          </a:p>
        </p:txBody>
      </p:sp>
      <p:sp>
        <p:nvSpPr>
          <p:cNvPr id="47111" name="Rectangle 23"/>
          <p:cNvSpPr>
            <a:spLocks noChangeArrowheads="1"/>
          </p:cNvSpPr>
          <p:nvPr/>
        </p:nvSpPr>
        <p:spPr bwMode="auto">
          <a:xfrm>
            <a:off x="2667000" y="3263900"/>
            <a:ext cx="1981200" cy="1458913"/>
          </a:xfrm>
          <a:prstGeom prst="rect">
            <a:avLst/>
          </a:prstGeom>
          <a:noFill/>
          <a:ln w="9525">
            <a:noFill/>
            <a:miter lim="800000"/>
            <a:headEnd/>
            <a:tailEnd/>
          </a:ln>
        </p:spPr>
        <p:txBody>
          <a:bodyPr>
            <a:spAutoFit/>
          </a:bodyPr>
          <a:lstStyle/>
          <a:p>
            <a:pPr marL="168275" indent="-168275">
              <a:lnSpc>
                <a:spcPct val="95000"/>
              </a:lnSpc>
              <a:spcBef>
                <a:spcPct val="15000"/>
              </a:spcBef>
              <a:buClr>
                <a:srgbClr val="000000"/>
              </a:buClr>
              <a:buFont typeface="Wingdings" pitchFamily="2" charset="2"/>
              <a:buChar char="§"/>
            </a:pPr>
            <a:r>
              <a:rPr lang="en-US" sz="1000">
                <a:solidFill>
                  <a:srgbClr val="000000"/>
                </a:solidFill>
              </a:rPr>
              <a:t>Conduct 1-on-1 ALCS  interviews to understand projects, budget approvals, payment processing and operational reporting</a:t>
            </a:r>
          </a:p>
          <a:p>
            <a:pPr marL="168275" indent="-168275">
              <a:lnSpc>
                <a:spcPct val="95000"/>
              </a:lnSpc>
              <a:spcBef>
                <a:spcPct val="15000"/>
              </a:spcBef>
              <a:buClr>
                <a:srgbClr val="000000"/>
              </a:buClr>
              <a:buFont typeface="Wingdings" pitchFamily="2" charset="2"/>
              <a:buChar char="§"/>
            </a:pPr>
            <a:r>
              <a:rPr lang="en-US" sz="1000">
                <a:solidFill>
                  <a:srgbClr val="000000"/>
                </a:solidFill>
              </a:rPr>
              <a:t>Assess headquarters IT/ telelphony infrastructure</a:t>
            </a:r>
          </a:p>
          <a:p>
            <a:pPr marL="168275" indent="-168275">
              <a:lnSpc>
                <a:spcPct val="95000"/>
              </a:lnSpc>
              <a:spcBef>
                <a:spcPct val="15000"/>
              </a:spcBef>
              <a:buClr>
                <a:srgbClr val="000000"/>
              </a:buClr>
              <a:buFont typeface="Wingdings" pitchFamily="2" charset="2"/>
              <a:buChar char="§"/>
            </a:pPr>
            <a:r>
              <a:rPr lang="en-US" sz="1000">
                <a:solidFill>
                  <a:srgbClr val="000000"/>
                </a:solidFill>
              </a:rPr>
              <a:t>Capture /categorize findings</a:t>
            </a:r>
          </a:p>
          <a:p>
            <a:pPr marL="168275" indent="-168275">
              <a:lnSpc>
                <a:spcPct val="95000"/>
              </a:lnSpc>
              <a:spcBef>
                <a:spcPct val="15000"/>
              </a:spcBef>
              <a:buClr>
                <a:srgbClr val="000000"/>
              </a:buClr>
              <a:buFont typeface="Wingdings" pitchFamily="2" charset="2"/>
              <a:buChar char="§"/>
            </a:pPr>
            <a:endParaRPr lang="en-US" sz="1000">
              <a:solidFill>
                <a:srgbClr val="000000"/>
              </a:solidFill>
            </a:endParaRPr>
          </a:p>
        </p:txBody>
      </p:sp>
      <p:sp>
        <p:nvSpPr>
          <p:cNvPr id="47112" name="Rectangle 3"/>
          <p:cNvSpPr>
            <a:spLocks noChangeArrowheads="1"/>
          </p:cNvSpPr>
          <p:nvPr/>
        </p:nvSpPr>
        <p:spPr bwMode="auto">
          <a:xfrm>
            <a:off x="563563" y="2022475"/>
            <a:ext cx="1658937" cy="895350"/>
          </a:xfrm>
          <a:prstGeom prst="rect">
            <a:avLst/>
          </a:prstGeom>
          <a:solidFill>
            <a:schemeClr val="bg1"/>
          </a:solidFill>
          <a:ln w="28575">
            <a:solidFill>
              <a:schemeClr val="bg2"/>
            </a:solidFill>
            <a:miter lim="800000"/>
            <a:headEnd/>
            <a:tailEnd/>
          </a:ln>
        </p:spPr>
        <p:txBody>
          <a:bodyPr tIns="92075" bIns="92075" anchor="ctr" anchorCtr="1"/>
          <a:lstStyle/>
          <a:p>
            <a:pPr eaLnBrk="0" hangingPunct="0"/>
            <a:r>
              <a:rPr lang="en-US" sz="1400" b="1">
                <a:solidFill>
                  <a:schemeClr val="accent1"/>
                </a:solidFill>
              </a:rPr>
              <a:t>Initiate project</a:t>
            </a:r>
          </a:p>
        </p:txBody>
      </p:sp>
      <p:sp>
        <p:nvSpPr>
          <p:cNvPr id="47113" name="Rectangle 4"/>
          <p:cNvSpPr>
            <a:spLocks noChangeArrowheads="1"/>
          </p:cNvSpPr>
          <p:nvPr/>
        </p:nvSpPr>
        <p:spPr bwMode="auto">
          <a:xfrm>
            <a:off x="2684463" y="2022475"/>
            <a:ext cx="1658937" cy="895350"/>
          </a:xfrm>
          <a:prstGeom prst="rect">
            <a:avLst/>
          </a:prstGeom>
          <a:solidFill>
            <a:schemeClr val="bg1"/>
          </a:solidFill>
          <a:ln w="28575">
            <a:solidFill>
              <a:schemeClr val="bg2"/>
            </a:solidFill>
            <a:miter lim="800000"/>
            <a:headEnd/>
            <a:tailEnd/>
          </a:ln>
        </p:spPr>
        <p:txBody>
          <a:bodyPr tIns="92075" bIns="92075" anchor="ctr" anchorCtr="1"/>
          <a:lstStyle/>
          <a:p>
            <a:pPr eaLnBrk="0" hangingPunct="0"/>
            <a:r>
              <a:rPr lang="en-US" sz="1400" b="1">
                <a:solidFill>
                  <a:schemeClr val="accent1"/>
                </a:solidFill>
              </a:rPr>
              <a:t>Gather Requirements</a:t>
            </a:r>
          </a:p>
        </p:txBody>
      </p:sp>
      <p:sp>
        <p:nvSpPr>
          <p:cNvPr id="47114" name="Rectangle 5"/>
          <p:cNvSpPr>
            <a:spLocks noChangeArrowheads="1"/>
          </p:cNvSpPr>
          <p:nvPr/>
        </p:nvSpPr>
        <p:spPr bwMode="auto">
          <a:xfrm>
            <a:off x="4805363" y="2022475"/>
            <a:ext cx="1658937" cy="895350"/>
          </a:xfrm>
          <a:prstGeom prst="rect">
            <a:avLst/>
          </a:prstGeom>
          <a:solidFill>
            <a:schemeClr val="bg1"/>
          </a:solidFill>
          <a:ln w="28575">
            <a:solidFill>
              <a:schemeClr val="bg2"/>
            </a:solidFill>
            <a:miter lim="800000"/>
            <a:headEnd/>
            <a:tailEnd/>
          </a:ln>
        </p:spPr>
        <p:txBody>
          <a:bodyPr tIns="92075" bIns="92075" anchor="ctr" anchorCtr="1"/>
          <a:lstStyle/>
          <a:p>
            <a:pPr eaLnBrk="0" hangingPunct="0"/>
            <a:r>
              <a:rPr lang="en-US" sz="1400" b="1">
                <a:solidFill>
                  <a:schemeClr val="accent1"/>
                </a:solidFill>
              </a:rPr>
              <a:t>Develop Information Management Approach </a:t>
            </a:r>
          </a:p>
        </p:txBody>
      </p:sp>
      <p:sp>
        <p:nvSpPr>
          <p:cNvPr id="47115" name="Rectangle 6"/>
          <p:cNvSpPr>
            <a:spLocks noChangeArrowheads="1"/>
          </p:cNvSpPr>
          <p:nvPr/>
        </p:nvSpPr>
        <p:spPr bwMode="auto">
          <a:xfrm>
            <a:off x="6927850" y="2022475"/>
            <a:ext cx="1758950" cy="895350"/>
          </a:xfrm>
          <a:prstGeom prst="rect">
            <a:avLst/>
          </a:prstGeom>
          <a:solidFill>
            <a:schemeClr val="bg1"/>
          </a:solidFill>
          <a:ln w="28575">
            <a:solidFill>
              <a:schemeClr val="bg2"/>
            </a:solidFill>
            <a:miter lim="800000"/>
            <a:headEnd/>
            <a:tailEnd/>
          </a:ln>
        </p:spPr>
        <p:txBody>
          <a:bodyPr tIns="92075" bIns="92075" anchor="ctr" anchorCtr="1"/>
          <a:lstStyle/>
          <a:p>
            <a:pPr eaLnBrk="0" hangingPunct="0"/>
            <a:r>
              <a:rPr lang="en-US" sz="1400" b="1">
                <a:solidFill>
                  <a:schemeClr val="accent1"/>
                </a:solidFill>
              </a:rPr>
              <a:t>Design Application Framework  </a:t>
            </a:r>
          </a:p>
        </p:txBody>
      </p:sp>
      <p:cxnSp>
        <p:nvCxnSpPr>
          <p:cNvPr id="47116" name="AutoShape 7"/>
          <p:cNvCxnSpPr>
            <a:cxnSpLocks noChangeShapeType="1"/>
          </p:cNvCxnSpPr>
          <p:nvPr/>
        </p:nvCxnSpPr>
        <p:spPr bwMode="auto">
          <a:xfrm>
            <a:off x="2236788" y="2451100"/>
            <a:ext cx="433387" cy="0"/>
          </a:xfrm>
          <a:prstGeom prst="straightConnector1">
            <a:avLst/>
          </a:prstGeom>
          <a:noFill/>
          <a:ln w="28575">
            <a:solidFill>
              <a:schemeClr val="bg2"/>
            </a:solidFill>
            <a:round/>
            <a:headEnd/>
            <a:tailEnd type="triangle" w="med" len="med"/>
          </a:ln>
        </p:spPr>
      </p:cxnSp>
      <p:cxnSp>
        <p:nvCxnSpPr>
          <p:cNvPr id="47117" name="AutoShape 8"/>
          <p:cNvCxnSpPr>
            <a:cxnSpLocks noChangeShapeType="1"/>
          </p:cNvCxnSpPr>
          <p:nvPr/>
        </p:nvCxnSpPr>
        <p:spPr bwMode="auto">
          <a:xfrm>
            <a:off x="4357688" y="2451100"/>
            <a:ext cx="433387" cy="0"/>
          </a:xfrm>
          <a:prstGeom prst="straightConnector1">
            <a:avLst/>
          </a:prstGeom>
          <a:noFill/>
          <a:ln w="28575">
            <a:solidFill>
              <a:schemeClr val="bg2"/>
            </a:solidFill>
            <a:round/>
            <a:headEnd/>
            <a:tailEnd type="triangle" w="med" len="med"/>
          </a:ln>
        </p:spPr>
      </p:cxnSp>
      <p:cxnSp>
        <p:nvCxnSpPr>
          <p:cNvPr id="47118" name="AutoShape 9"/>
          <p:cNvCxnSpPr>
            <a:cxnSpLocks noChangeShapeType="1"/>
            <a:stCxn id="47114" idx="3"/>
            <a:endCxn id="47115" idx="1"/>
          </p:cNvCxnSpPr>
          <p:nvPr/>
        </p:nvCxnSpPr>
        <p:spPr bwMode="auto">
          <a:xfrm>
            <a:off x="6464300" y="2470150"/>
            <a:ext cx="463550" cy="1588"/>
          </a:xfrm>
          <a:prstGeom prst="straightConnector1">
            <a:avLst/>
          </a:prstGeom>
          <a:noFill/>
          <a:ln w="28575">
            <a:solidFill>
              <a:schemeClr val="bg2"/>
            </a:solidFill>
            <a:round/>
            <a:headEnd/>
            <a:tailEnd type="triangle" w="med" len="med"/>
          </a:ln>
        </p:spPr>
      </p:cxnSp>
      <p:sp>
        <p:nvSpPr>
          <p:cNvPr id="47119" name="Text Box 17"/>
          <p:cNvSpPr txBox="1">
            <a:spLocks noChangeArrowheads="1"/>
          </p:cNvSpPr>
          <p:nvPr/>
        </p:nvSpPr>
        <p:spPr bwMode="auto">
          <a:xfrm>
            <a:off x="427038" y="1279525"/>
            <a:ext cx="8272462" cy="554038"/>
          </a:xfrm>
          <a:prstGeom prst="rect">
            <a:avLst/>
          </a:prstGeom>
          <a:noFill/>
          <a:ln w="9525">
            <a:noFill/>
            <a:miter lim="800000"/>
            <a:headEnd/>
            <a:tailEnd/>
          </a:ln>
        </p:spPr>
        <p:txBody>
          <a:bodyPr anchor="ctr">
            <a:spAutoFit/>
          </a:bodyPr>
          <a:lstStyle/>
          <a:p>
            <a:pPr algn="ctr" eaLnBrk="0" hangingPunct="0"/>
            <a:r>
              <a:rPr lang="en-US" altLang="en-US" sz="1600" b="1">
                <a:solidFill>
                  <a:srgbClr val="0070C0"/>
                </a:solidFill>
              </a:rPr>
              <a:t>ALCS IT Solutions Design: Statement of Work</a:t>
            </a:r>
          </a:p>
          <a:p>
            <a:pPr algn="ctr" eaLnBrk="0" hangingPunct="0"/>
            <a:r>
              <a:rPr lang="en-US" altLang="en-US" sz="1400" i="1">
                <a:solidFill>
                  <a:srgbClr val="0070C0"/>
                </a:solidFill>
              </a:rPr>
              <a:t>April 28 – May 23</a:t>
            </a:r>
            <a:endParaRPr lang="en-US" altLang="en-US" sz="1400" b="1">
              <a:solidFill>
                <a:srgbClr val="0070C0"/>
              </a:solidFill>
            </a:endParaRPr>
          </a:p>
        </p:txBody>
      </p:sp>
      <p:sp>
        <p:nvSpPr>
          <p:cNvPr id="47120" name="Rectangle 51"/>
          <p:cNvSpPr>
            <a:spLocks noChangeArrowheads="1"/>
          </p:cNvSpPr>
          <p:nvPr/>
        </p:nvSpPr>
        <p:spPr bwMode="auto">
          <a:xfrm>
            <a:off x="4724400" y="3267075"/>
            <a:ext cx="2057400" cy="1701800"/>
          </a:xfrm>
          <a:prstGeom prst="rect">
            <a:avLst/>
          </a:prstGeom>
          <a:noFill/>
          <a:ln w="9525">
            <a:noFill/>
            <a:miter lim="800000"/>
            <a:headEnd/>
            <a:tailEnd/>
          </a:ln>
        </p:spPr>
        <p:txBody>
          <a:bodyPr/>
          <a:lstStyle/>
          <a:p>
            <a:pPr marL="168275" indent="-168275">
              <a:lnSpc>
                <a:spcPct val="95000"/>
              </a:lnSpc>
              <a:spcBef>
                <a:spcPct val="15000"/>
              </a:spcBef>
              <a:buClr>
                <a:srgbClr val="000000"/>
              </a:buClr>
              <a:buFont typeface="Wingdings" pitchFamily="2" charset="2"/>
              <a:buChar char="§"/>
            </a:pPr>
            <a:r>
              <a:rPr lang="en-US" sz="1000">
                <a:solidFill>
                  <a:srgbClr val="000000"/>
                </a:solidFill>
              </a:rPr>
              <a:t>Draft information model for finance, administration and operational activities</a:t>
            </a:r>
          </a:p>
          <a:p>
            <a:pPr marL="168275" indent="-168275">
              <a:lnSpc>
                <a:spcPct val="95000"/>
              </a:lnSpc>
              <a:spcBef>
                <a:spcPct val="15000"/>
              </a:spcBef>
              <a:buClr>
                <a:srgbClr val="000000"/>
              </a:buClr>
              <a:buFont typeface="Wingdings" pitchFamily="2" charset="2"/>
              <a:buChar char="§"/>
            </a:pPr>
            <a:r>
              <a:rPr lang="en-US" sz="1000">
                <a:solidFill>
                  <a:srgbClr val="000000"/>
                </a:solidFill>
              </a:rPr>
              <a:t>Determine ALCS project dependencies, constraints and assumptions</a:t>
            </a:r>
          </a:p>
          <a:p>
            <a:pPr marL="168275" indent="-168275">
              <a:lnSpc>
                <a:spcPct val="95000"/>
              </a:lnSpc>
              <a:spcBef>
                <a:spcPct val="15000"/>
              </a:spcBef>
              <a:buClr>
                <a:srgbClr val="000000"/>
              </a:buClr>
              <a:buFont typeface="Wingdings" pitchFamily="2" charset="2"/>
              <a:buChar char="§"/>
            </a:pPr>
            <a:r>
              <a:rPr lang="en-US" sz="1000">
                <a:solidFill>
                  <a:srgbClr val="000000"/>
                </a:solidFill>
              </a:rPr>
              <a:t>Define and validate key information entities and data relationships  </a:t>
            </a:r>
            <a:endParaRPr lang="en-US" sz="1100"/>
          </a:p>
        </p:txBody>
      </p:sp>
      <p:sp>
        <p:nvSpPr>
          <p:cNvPr id="47121" name="Rectangle 34"/>
          <p:cNvSpPr>
            <a:spLocks noChangeArrowheads="1"/>
          </p:cNvSpPr>
          <p:nvPr/>
        </p:nvSpPr>
        <p:spPr bwMode="auto">
          <a:xfrm>
            <a:off x="6858000" y="3267075"/>
            <a:ext cx="1828800" cy="1770063"/>
          </a:xfrm>
          <a:prstGeom prst="rect">
            <a:avLst/>
          </a:prstGeom>
          <a:noFill/>
          <a:ln w="9525">
            <a:noFill/>
            <a:miter lim="800000"/>
            <a:headEnd/>
            <a:tailEnd/>
          </a:ln>
        </p:spPr>
        <p:txBody>
          <a:bodyPr>
            <a:spAutoFit/>
          </a:bodyPr>
          <a:lstStyle/>
          <a:p>
            <a:pPr marL="168275" indent="-168275">
              <a:lnSpc>
                <a:spcPct val="95000"/>
              </a:lnSpc>
              <a:spcBef>
                <a:spcPct val="15000"/>
              </a:spcBef>
              <a:buClr>
                <a:schemeClr val="tx2"/>
              </a:buClr>
              <a:buFont typeface="Wingdings" pitchFamily="2" charset="2"/>
              <a:buChar char="§"/>
            </a:pPr>
            <a:r>
              <a:rPr lang="en-US" sz="1000"/>
              <a:t>Develop logical design, documenting  technical, functional, and non-functional requirements </a:t>
            </a:r>
          </a:p>
          <a:p>
            <a:pPr marL="168275" indent="-168275">
              <a:lnSpc>
                <a:spcPct val="95000"/>
              </a:lnSpc>
              <a:spcBef>
                <a:spcPct val="15000"/>
              </a:spcBef>
              <a:buClr>
                <a:schemeClr val="tx2"/>
              </a:buClr>
              <a:buFont typeface="Wingdings" pitchFamily="2" charset="2"/>
              <a:buChar char="§"/>
            </a:pPr>
            <a:r>
              <a:rPr lang="en-US" sz="1000"/>
              <a:t>Document user interface and reporting preferences</a:t>
            </a:r>
          </a:p>
          <a:p>
            <a:pPr marL="168275" indent="-168275">
              <a:lnSpc>
                <a:spcPct val="95000"/>
              </a:lnSpc>
              <a:spcBef>
                <a:spcPct val="15000"/>
              </a:spcBef>
              <a:buClr>
                <a:schemeClr val="tx2"/>
              </a:buClr>
              <a:buFont typeface="Wingdings" pitchFamily="2" charset="2"/>
              <a:buChar char="§"/>
            </a:pPr>
            <a:r>
              <a:rPr lang="en-US" sz="1000"/>
              <a:t>Create  functional specification document for system developers</a:t>
            </a:r>
          </a:p>
          <a:p>
            <a:pPr marL="168275" indent="-168275">
              <a:lnSpc>
                <a:spcPct val="95000"/>
              </a:lnSpc>
              <a:spcBef>
                <a:spcPct val="15000"/>
              </a:spcBef>
              <a:buClr>
                <a:schemeClr val="tx2"/>
              </a:buClr>
              <a:buFont typeface="Wingdings" pitchFamily="2" charset="2"/>
              <a:buNone/>
            </a:pPr>
            <a:endParaRPr lang="en-US" sz="1000"/>
          </a:p>
          <a:p>
            <a:pPr marL="168275" indent="-168275">
              <a:lnSpc>
                <a:spcPct val="95000"/>
              </a:lnSpc>
              <a:spcBef>
                <a:spcPct val="15000"/>
              </a:spcBef>
              <a:buClr>
                <a:schemeClr val="tx2"/>
              </a:buClr>
              <a:buFont typeface="Wingdings" pitchFamily="2" charset="2"/>
              <a:buChar char="§"/>
            </a:pPr>
            <a:endParaRPr lang="en-US" sz="1000"/>
          </a:p>
        </p:txBody>
      </p:sp>
      <p:sp>
        <p:nvSpPr>
          <p:cNvPr id="47122" name="Rectangle 51"/>
          <p:cNvSpPr>
            <a:spLocks noChangeArrowheads="1"/>
          </p:cNvSpPr>
          <p:nvPr/>
        </p:nvSpPr>
        <p:spPr bwMode="auto">
          <a:xfrm>
            <a:off x="533400" y="4933950"/>
            <a:ext cx="2057400" cy="1701800"/>
          </a:xfrm>
          <a:prstGeom prst="rect">
            <a:avLst/>
          </a:prstGeom>
          <a:noFill/>
          <a:ln w="9525">
            <a:noFill/>
            <a:miter lim="800000"/>
            <a:headEnd/>
            <a:tailEnd/>
          </a:ln>
        </p:spPr>
        <p:txBody>
          <a:bodyPr/>
          <a:lstStyle/>
          <a:p>
            <a:pPr marL="168275" indent="-168275">
              <a:lnSpc>
                <a:spcPct val="95000"/>
              </a:lnSpc>
              <a:spcBef>
                <a:spcPct val="15000"/>
              </a:spcBef>
              <a:buClr>
                <a:srgbClr val="000000"/>
              </a:buClr>
              <a:buFont typeface="Wingdings" pitchFamily="2" charset="2"/>
              <a:buChar char="§"/>
            </a:pPr>
            <a:r>
              <a:rPr lang="en-US" sz="1000">
                <a:solidFill>
                  <a:srgbClr val="000000"/>
                </a:solidFill>
              </a:rPr>
              <a:t>Revised SOW / project deliverables</a:t>
            </a:r>
          </a:p>
          <a:p>
            <a:pPr marL="168275" indent="-168275">
              <a:lnSpc>
                <a:spcPct val="95000"/>
              </a:lnSpc>
              <a:spcBef>
                <a:spcPct val="15000"/>
              </a:spcBef>
              <a:buClr>
                <a:srgbClr val="000000"/>
              </a:buClr>
              <a:buFont typeface="Wingdings" pitchFamily="2" charset="2"/>
              <a:buChar char="§"/>
            </a:pPr>
            <a:r>
              <a:rPr lang="en-US" sz="1000">
                <a:solidFill>
                  <a:srgbClr val="000000"/>
                </a:solidFill>
              </a:rPr>
              <a:t>High level approach to delivering recommendations for 7 proposed projects </a:t>
            </a:r>
            <a:endParaRPr lang="en-US" sz="1100"/>
          </a:p>
        </p:txBody>
      </p:sp>
      <p:sp>
        <p:nvSpPr>
          <p:cNvPr id="47123" name="Rectangle 36"/>
          <p:cNvSpPr>
            <a:spLocks noChangeArrowheads="1"/>
          </p:cNvSpPr>
          <p:nvPr/>
        </p:nvSpPr>
        <p:spPr bwMode="auto">
          <a:xfrm>
            <a:off x="2667000" y="4933950"/>
            <a:ext cx="1981200" cy="1025525"/>
          </a:xfrm>
          <a:prstGeom prst="rect">
            <a:avLst/>
          </a:prstGeom>
          <a:noFill/>
          <a:ln w="9525">
            <a:noFill/>
            <a:miter lim="800000"/>
            <a:headEnd/>
            <a:tailEnd/>
          </a:ln>
        </p:spPr>
        <p:txBody>
          <a:bodyPr>
            <a:spAutoFit/>
          </a:bodyPr>
          <a:lstStyle/>
          <a:p>
            <a:pPr marL="168275" indent="-168275">
              <a:lnSpc>
                <a:spcPct val="95000"/>
              </a:lnSpc>
              <a:spcBef>
                <a:spcPct val="15000"/>
              </a:spcBef>
              <a:buClr>
                <a:srgbClr val="000000"/>
              </a:buClr>
              <a:buFont typeface="Wingdings" pitchFamily="2" charset="2"/>
              <a:buChar char="§"/>
            </a:pPr>
            <a:r>
              <a:rPr lang="en-US" sz="1000">
                <a:solidFill>
                  <a:srgbClr val="000000"/>
                </a:solidFill>
              </a:rPr>
              <a:t>SWOT Analysis</a:t>
            </a:r>
          </a:p>
          <a:p>
            <a:pPr marL="168275" indent="-168275">
              <a:lnSpc>
                <a:spcPct val="95000"/>
              </a:lnSpc>
              <a:spcBef>
                <a:spcPct val="15000"/>
              </a:spcBef>
              <a:buClr>
                <a:srgbClr val="000000"/>
              </a:buClr>
              <a:buFont typeface="Wingdings" pitchFamily="2" charset="2"/>
              <a:buChar char="§"/>
            </a:pPr>
            <a:r>
              <a:rPr lang="en-US" sz="1000">
                <a:solidFill>
                  <a:srgbClr val="000000"/>
                </a:solidFill>
              </a:rPr>
              <a:t>Synthesis of our understanding of current challenges &amp; issues  </a:t>
            </a:r>
          </a:p>
          <a:p>
            <a:pPr marL="168275" indent="-168275">
              <a:lnSpc>
                <a:spcPct val="95000"/>
              </a:lnSpc>
              <a:spcBef>
                <a:spcPct val="15000"/>
              </a:spcBef>
              <a:buClr>
                <a:srgbClr val="000000"/>
              </a:buClr>
              <a:buFont typeface="Wingdings" pitchFamily="2" charset="2"/>
              <a:buChar char="§"/>
            </a:pPr>
            <a:r>
              <a:rPr lang="en-US" sz="1000">
                <a:solidFill>
                  <a:srgbClr val="000000"/>
                </a:solidFill>
              </a:rPr>
              <a:t>IT infrastructure inventory  </a:t>
            </a:r>
          </a:p>
          <a:p>
            <a:pPr marL="168275" indent="-168275">
              <a:lnSpc>
                <a:spcPct val="95000"/>
              </a:lnSpc>
              <a:spcBef>
                <a:spcPct val="15000"/>
              </a:spcBef>
              <a:buClr>
                <a:srgbClr val="000000"/>
              </a:buClr>
              <a:buFont typeface="Wingdings" pitchFamily="2" charset="2"/>
              <a:buNone/>
            </a:pPr>
            <a:r>
              <a:rPr lang="en-US" sz="1000">
                <a:solidFill>
                  <a:srgbClr val="000000"/>
                </a:solidFill>
              </a:rPr>
              <a:t> </a:t>
            </a:r>
          </a:p>
        </p:txBody>
      </p:sp>
      <p:sp>
        <p:nvSpPr>
          <p:cNvPr id="47124" name="Rectangle 51"/>
          <p:cNvSpPr>
            <a:spLocks noChangeArrowheads="1"/>
          </p:cNvSpPr>
          <p:nvPr/>
        </p:nvSpPr>
        <p:spPr bwMode="auto">
          <a:xfrm>
            <a:off x="4724400" y="4940300"/>
            <a:ext cx="2057400" cy="1701800"/>
          </a:xfrm>
          <a:prstGeom prst="rect">
            <a:avLst/>
          </a:prstGeom>
          <a:noFill/>
          <a:ln w="9525">
            <a:noFill/>
            <a:miter lim="800000"/>
            <a:headEnd/>
            <a:tailEnd/>
          </a:ln>
        </p:spPr>
        <p:txBody>
          <a:bodyPr/>
          <a:lstStyle/>
          <a:p>
            <a:pPr marL="168275" indent="-168275">
              <a:lnSpc>
                <a:spcPct val="95000"/>
              </a:lnSpc>
              <a:spcBef>
                <a:spcPct val="15000"/>
              </a:spcBef>
              <a:buClr>
                <a:srgbClr val="000000"/>
              </a:buClr>
              <a:buFont typeface="Wingdings" pitchFamily="2" charset="2"/>
              <a:buChar char="§"/>
            </a:pPr>
            <a:r>
              <a:rPr lang="en-US" sz="1000">
                <a:solidFill>
                  <a:srgbClr val="000000"/>
                </a:solidFill>
              </a:rPr>
              <a:t>Application workflow model</a:t>
            </a:r>
          </a:p>
          <a:p>
            <a:pPr marL="168275" indent="-168275">
              <a:lnSpc>
                <a:spcPct val="95000"/>
              </a:lnSpc>
              <a:spcBef>
                <a:spcPct val="15000"/>
              </a:spcBef>
              <a:buClr>
                <a:srgbClr val="000000"/>
              </a:buClr>
              <a:buFont typeface="Wingdings" pitchFamily="2" charset="2"/>
              <a:buChar char="§"/>
            </a:pPr>
            <a:r>
              <a:rPr lang="en-US" sz="1000">
                <a:solidFill>
                  <a:srgbClr val="000000"/>
                </a:solidFill>
              </a:rPr>
              <a:t>Documented requirements for application and database configuration</a:t>
            </a:r>
          </a:p>
          <a:p>
            <a:pPr marL="168275" indent="-168275">
              <a:lnSpc>
                <a:spcPct val="95000"/>
              </a:lnSpc>
              <a:spcBef>
                <a:spcPct val="15000"/>
              </a:spcBef>
              <a:buClr>
                <a:srgbClr val="000000"/>
              </a:buClr>
              <a:buFont typeface="Wingdings" pitchFamily="2" charset="2"/>
              <a:buChar char="§"/>
            </a:pPr>
            <a:r>
              <a:rPr lang="en-US" sz="1000">
                <a:solidFill>
                  <a:srgbClr val="000000"/>
                </a:solidFill>
              </a:rPr>
              <a:t>Education and validation session on database design</a:t>
            </a:r>
          </a:p>
          <a:p>
            <a:pPr marL="168275" indent="-168275">
              <a:lnSpc>
                <a:spcPct val="95000"/>
              </a:lnSpc>
              <a:spcBef>
                <a:spcPct val="15000"/>
              </a:spcBef>
              <a:buClr>
                <a:srgbClr val="000000"/>
              </a:buClr>
              <a:buFont typeface="Wingdings" pitchFamily="2" charset="2"/>
              <a:buChar char="§"/>
            </a:pPr>
            <a:endParaRPr lang="en-US" sz="1000">
              <a:solidFill>
                <a:srgbClr val="000000"/>
              </a:solidFill>
            </a:endParaRPr>
          </a:p>
          <a:p>
            <a:pPr marL="168275" indent="-168275">
              <a:lnSpc>
                <a:spcPct val="95000"/>
              </a:lnSpc>
              <a:spcBef>
                <a:spcPct val="15000"/>
              </a:spcBef>
              <a:buClr>
                <a:srgbClr val="000000"/>
              </a:buClr>
              <a:buFont typeface="Wingdings" pitchFamily="2" charset="2"/>
              <a:buChar char="§"/>
            </a:pPr>
            <a:endParaRPr lang="en-US" sz="1100"/>
          </a:p>
        </p:txBody>
      </p:sp>
      <p:sp>
        <p:nvSpPr>
          <p:cNvPr id="47125" name="Rectangle 38"/>
          <p:cNvSpPr>
            <a:spLocks noChangeArrowheads="1"/>
          </p:cNvSpPr>
          <p:nvPr/>
        </p:nvSpPr>
        <p:spPr bwMode="auto">
          <a:xfrm>
            <a:off x="6858000" y="4937125"/>
            <a:ext cx="1828800" cy="1058863"/>
          </a:xfrm>
          <a:prstGeom prst="rect">
            <a:avLst/>
          </a:prstGeom>
          <a:noFill/>
          <a:ln w="9525">
            <a:noFill/>
            <a:miter lim="800000"/>
            <a:headEnd/>
            <a:tailEnd/>
          </a:ln>
        </p:spPr>
        <p:txBody>
          <a:bodyPr>
            <a:spAutoFit/>
          </a:bodyPr>
          <a:lstStyle/>
          <a:p>
            <a:pPr marL="168275" indent="-168275">
              <a:lnSpc>
                <a:spcPct val="95000"/>
              </a:lnSpc>
              <a:spcBef>
                <a:spcPct val="15000"/>
              </a:spcBef>
              <a:buClr>
                <a:schemeClr val="tx2"/>
              </a:buClr>
              <a:buFont typeface="Wingdings" pitchFamily="2" charset="2"/>
              <a:buChar char="§"/>
            </a:pPr>
            <a:r>
              <a:rPr lang="en-US" sz="1000"/>
              <a:t>Logical database design  </a:t>
            </a:r>
          </a:p>
          <a:p>
            <a:pPr marL="168275" indent="-168275">
              <a:lnSpc>
                <a:spcPct val="95000"/>
              </a:lnSpc>
              <a:spcBef>
                <a:spcPct val="15000"/>
              </a:spcBef>
              <a:buClr>
                <a:schemeClr val="tx2"/>
              </a:buClr>
              <a:buFont typeface="Wingdings" pitchFamily="2" charset="2"/>
              <a:buChar char="§"/>
            </a:pPr>
            <a:r>
              <a:rPr lang="en-US" sz="1000"/>
              <a:t>Sample dashboards</a:t>
            </a:r>
          </a:p>
          <a:p>
            <a:pPr marL="168275" indent="-168275">
              <a:lnSpc>
                <a:spcPct val="95000"/>
              </a:lnSpc>
              <a:spcBef>
                <a:spcPct val="15000"/>
              </a:spcBef>
              <a:buClr>
                <a:schemeClr val="tx2"/>
              </a:buClr>
              <a:buFont typeface="Wingdings" pitchFamily="2" charset="2"/>
              <a:buChar char="§"/>
            </a:pPr>
            <a:r>
              <a:rPr lang="en-US" sz="1000"/>
              <a:t>Recommendations for short-term and long-term sustainability</a:t>
            </a:r>
          </a:p>
          <a:p>
            <a:pPr marL="168275" indent="-168275">
              <a:lnSpc>
                <a:spcPct val="95000"/>
              </a:lnSpc>
              <a:spcBef>
                <a:spcPct val="15000"/>
              </a:spcBef>
              <a:buClr>
                <a:schemeClr val="tx2"/>
              </a:buClr>
              <a:buFont typeface="Wingdings" pitchFamily="2" charset="2"/>
              <a:buChar char="§"/>
            </a:pPr>
            <a:endParaRPr lang="en-US" sz="1200">
              <a:solidFill>
                <a:schemeClr val="bg2"/>
              </a:solidFill>
            </a:endParaRPr>
          </a:p>
        </p:txBody>
      </p:sp>
      <p:sp>
        <p:nvSpPr>
          <p:cNvPr id="47126" name="Rectangle 51"/>
          <p:cNvSpPr>
            <a:spLocks noChangeArrowheads="1"/>
          </p:cNvSpPr>
          <p:nvPr/>
        </p:nvSpPr>
        <p:spPr bwMode="auto">
          <a:xfrm>
            <a:off x="533400" y="6327775"/>
            <a:ext cx="2057400" cy="1701800"/>
          </a:xfrm>
          <a:prstGeom prst="rect">
            <a:avLst/>
          </a:prstGeom>
          <a:noFill/>
          <a:ln w="9525">
            <a:noFill/>
            <a:miter lim="800000"/>
            <a:headEnd/>
            <a:tailEnd/>
          </a:ln>
        </p:spPr>
        <p:txBody>
          <a:bodyPr/>
          <a:lstStyle/>
          <a:p>
            <a:pPr marL="168275" indent="-168275">
              <a:lnSpc>
                <a:spcPct val="95000"/>
              </a:lnSpc>
              <a:spcBef>
                <a:spcPct val="15000"/>
              </a:spcBef>
              <a:buClr>
                <a:srgbClr val="000000"/>
              </a:buClr>
              <a:buFont typeface="Wingdings" pitchFamily="2" charset="2"/>
              <a:buChar char="§"/>
            </a:pPr>
            <a:r>
              <a:rPr lang="en-US" sz="1000">
                <a:solidFill>
                  <a:srgbClr val="000000"/>
                </a:solidFill>
              </a:rPr>
              <a:t>3 days </a:t>
            </a:r>
            <a:endParaRPr lang="en-US" sz="1100"/>
          </a:p>
        </p:txBody>
      </p:sp>
      <p:sp>
        <p:nvSpPr>
          <p:cNvPr id="47127" name="Rectangle 40"/>
          <p:cNvSpPr>
            <a:spLocks noChangeArrowheads="1"/>
          </p:cNvSpPr>
          <p:nvPr/>
        </p:nvSpPr>
        <p:spPr bwMode="auto">
          <a:xfrm>
            <a:off x="2667000" y="6327775"/>
            <a:ext cx="1981200" cy="238125"/>
          </a:xfrm>
          <a:prstGeom prst="rect">
            <a:avLst/>
          </a:prstGeom>
          <a:noFill/>
          <a:ln w="9525">
            <a:noFill/>
            <a:miter lim="800000"/>
            <a:headEnd/>
            <a:tailEnd/>
          </a:ln>
        </p:spPr>
        <p:txBody>
          <a:bodyPr>
            <a:spAutoFit/>
          </a:bodyPr>
          <a:lstStyle/>
          <a:p>
            <a:pPr marL="168275" indent="-168275">
              <a:lnSpc>
                <a:spcPct val="95000"/>
              </a:lnSpc>
              <a:spcBef>
                <a:spcPct val="15000"/>
              </a:spcBef>
              <a:buClr>
                <a:srgbClr val="000000"/>
              </a:buClr>
              <a:buFont typeface="Wingdings" pitchFamily="2" charset="2"/>
              <a:buChar char="§"/>
            </a:pPr>
            <a:r>
              <a:rPr lang="en-US" sz="1000">
                <a:solidFill>
                  <a:srgbClr val="000000"/>
                </a:solidFill>
              </a:rPr>
              <a:t>1-2 weeks</a:t>
            </a:r>
          </a:p>
        </p:txBody>
      </p:sp>
      <p:sp>
        <p:nvSpPr>
          <p:cNvPr id="47128" name="Rectangle 51"/>
          <p:cNvSpPr>
            <a:spLocks noChangeArrowheads="1"/>
          </p:cNvSpPr>
          <p:nvPr/>
        </p:nvSpPr>
        <p:spPr bwMode="auto">
          <a:xfrm>
            <a:off x="4724400" y="6327775"/>
            <a:ext cx="2057400" cy="1701800"/>
          </a:xfrm>
          <a:prstGeom prst="rect">
            <a:avLst/>
          </a:prstGeom>
          <a:noFill/>
          <a:ln w="9525">
            <a:noFill/>
            <a:miter lim="800000"/>
            <a:headEnd/>
            <a:tailEnd/>
          </a:ln>
        </p:spPr>
        <p:txBody>
          <a:bodyPr/>
          <a:lstStyle/>
          <a:p>
            <a:pPr marL="168275" indent="-168275">
              <a:lnSpc>
                <a:spcPct val="95000"/>
              </a:lnSpc>
              <a:spcBef>
                <a:spcPct val="15000"/>
              </a:spcBef>
              <a:buClr>
                <a:srgbClr val="000000"/>
              </a:buClr>
              <a:buFont typeface="Wingdings" pitchFamily="2" charset="2"/>
              <a:buChar char="§"/>
            </a:pPr>
            <a:r>
              <a:rPr lang="en-US" sz="1000">
                <a:solidFill>
                  <a:srgbClr val="000000"/>
                </a:solidFill>
              </a:rPr>
              <a:t>1 week</a:t>
            </a:r>
            <a:endParaRPr lang="en-US" sz="1100"/>
          </a:p>
        </p:txBody>
      </p:sp>
      <p:sp>
        <p:nvSpPr>
          <p:cNvPr id="47129" name="Rectangle 42"/>
          <p:cNvSpPr>
            <a:spLocks noChangeArrowheads="1"/>
          </p:cNvSpPr>
          <p:nvPr/>
        </p:nvSpPr>
        <p:spPr bwMode="auto">
          <a:xfrm>
            <a:off x="6858000" y="6327775"/>
            <a:ext cx="1828800" cy="441325"/>
          </a:xfrm>
          <a:prstGeom prst="rect">
            <a:avLst/>
          </a:prstGeom>
          <a:noFill/>
          <a:ln w="9525">
            <a:noFill/>
            <a:miter lim="800000"/>
            <a:headEnd/>
            <a:tailEnd/>
          </a:ln>
        </p:spPr>
        <p:txBody>
          <a:bodyPr>
            <a:spAutoFit/>
          </a:bodyPr>
          <a:lstStyle/>
          <a:p>
            <a:pPr marL="168275" indent="-168275">
              <a:lnSpc>
                <a:spcPct val="95000"/>
              </a:lnSpc>
              <a:spcBef>
                <a:spcPct val="15000"/>
              </a:spcBef>
              <a:buClr>
                <a:schemeClr val="tx2"/>
              </a:buClr>
              <a:buFont typeface="Wingdings" pitchFamily="2" charset="2"/>
              <a:buChar char="§"/>
            </a:pPr>
            <a:r>
              <a:rPr lang="en-US" sz="1000"/>
              <a:t>1 week</a:t>
            </a:r>
          </a:p>
          <a:p>
            <a:pPr marL="168275" indent="-168275">
              <a:lnSpc>
                <a:spcPct val="95000"/>
              </a:lnSpc>
              <a:spcBef>
                <a:spcPct val="15000"/>
              </a:spcBef>
              <a:buClr>
                <a:schemeClr val="tx2"/>
              </a:buClr>
              <a:buFont typeface="Wingdings" pitchFamily="2" charset="2"/>
              <a:buChar char="§"/>
            </a:pPr>
            <a:endParaRPr lang="en-US" sz="1200">
              <a:solidFill>
                <a:schemeClr val="bg2"/>
              </a:solidFill>
            </a:endParaRPr>
          </a:p>
        </p:txBody>
      </p:sp>
      <p:cxnSp>
        <p:nvCxnSpPr>
          <p:cNvPr id="45" name="Straight Connector 44"/>
          <p:cNvCxnSpPr/>
          <p:nvPr/>
        </p:nvCxnSpPr>
        <p:spPr bwMode="auto">
          <a:xfrm>
            <a:off x="1600200" y="4813300"/>
            <a:ext cx="7086600" cy="1588"/>
          </a:xfrm>
          <a:prstGeom prst="line">
            <a:avLst/>
          </a:prstGeom>
          <a:noFill/>
          <a:ln w="9525" cap="flat" cmpd="sng" algn="ctr">
            <a:solidFill>
              <a:schemeClr val="bg2">
                <a:lumMod val="60000"/>
                <a:lumOff val="40000"/>
              </a:schemeClr>
            </a:solidFill>
            <a:prstDash val="solid"/>
            <a:round/>
            <a:headEnd type="none" w="med" len="med"/>
            <a:tailEnd type="none" w="med" len="med"/>
          </a:ln>
          <a:effectLst/>
        </p:spPr>
      </p:cxnSp>
      <p:cxnSp>
        <p:nvCxnSpPr>
          <p:cNvPr id="47" name="Straight Connector 46"/>
          <p:cNvCxnSpPr/>
          <p:nvPr/>
        </p:nvCxnSpPr>
        <p:spPr bwMode="auto">
          <a:xfrm>
            <a:off x="1600200" y="6032500"/>
            <a:ext cx="7086600" cy="1588"/>
          </a:xfrm>
          <a:prstGeom prst="line">
            <a:avLst/>
          </a:prstGeom>
          <a:noFill/>
          <a:ln w="9525" cap="flat" cmpd="sng" algn="ctr">
            <a:solidFill>
              <a:schemeClr val="bg2">
                <a:lumMod val="60000"/>
                <a:lumOff val="40000"/>
              </a:schemeClr>
            </a:solidFill>
            <a:prstDash val="solid"/>
            <a:round/>
            <a:headEnd type="none" w="med" len="med"/>
            <a:tailEnd type="none" w="med" len="med"/>
          </a:ln>
          <a:effectLst/>
        </p:spPr>
      </p:cxnSp>
      <p:sp>
        <p:nvSpPr>
          <p:cNvPr id="47132" name="Rectangle 47"/>
          <p:cNvSpPr>
            <a:spLocks noChangeArrowheads="1"/>
          </p:cNvSpPr>
          <p:nvPr/>
        </p:nvSpPr>
        <p:spPr bwMode="auto">
          <a:xfrm>
            <a:off x="457200" y="1917700"/>
            <a:ext cx="228600" cy="228600"/>
          </a:xfrm>
          <a:prstGeom prst="rect">
            <a:avLst/>
          </a:prstGeom>
          <a:solidFill>
            <a:schemeClr val="accent1"/>
          </a:solidFill>
          <a:ln w="9525" algn="ctr">
            <a:noFill/>
            <a:round/>
            <a:headEnd/>
            <a:tailEnd/>
          </a:ln>
        </p:spPr>
        <p:txBody>
          <a:bodyPr anchor="ctr" anchorCtr="1"/>
          <a:lstStyle/>
          <a:p>
            <a:pPr algn="ctr"/>
            <a:r>
              <a:rPr lang="en-US" sz="1200" b="1">
                <a:solidFill>
                  <a:schemeClr val="bg1"/>
                </a:solidFill>
              </a:rPr>
              <a:t>1</a:t>
            </a:r>
          </a:p>
        </p:txBody>
      </p:sp>
      <p:sp>
        <p:nvSpPr>
          <p:cNvPr id="47133" name="Rectangle 48"/>
          <p:cNvSpPr>
            <a:spLocks noChangeArrowheads="1"/>
          </p:cNvSpPr>
          <p:nvPr/>
        </p:nvSpPr>
        <p:spPr bwMode="auto">
          <a:xfrm>
            <a:off x="2590800" y="1917700"/>
            <a:ext cx="228600" cy="228600"/>
          </a:xfrm>
          <a:prstGeom prst="rect">
            <a:avLst/>
          </a:prstGeom>
          <a:solidFill>
            <a:schemeClr val="accent1"/>
          </a:solidFill>
          <a:ln w="9525" algn="ctr">
            <a:noFill/>
            <a:round/>
            <a:headEnd/>
            <a:tailEnd/>
          </a:ln>
        </p:spPr>
        <p:txBody>
          <a:bodyPr anchor="ctr" anchorCtr="1"/>
          <a:lstStyle/>
          <a:p>
            <a:pPr algn="ctr"/>
            <a:r>
              <a:rPr lang="en-US" sz="1200" b="1">
                <a:solidFill>
                  <a:schemeClr val="bg1"/>
                </a:solidFill>
              </a:rPr>
              <a:t>2</a:t>
            </a:r>
          </a:p>
        </p:txBody>
      </p:sp>
      <p:sp>
        <p:nvSpPr>
          <p:cNvPr id="47134" name="Rectangle 49"/>
          <p:cNvSpPr>
            <a:spLocks noChangeArrowheads="1"/>
          </p:cNvSpPr>
          <p:nvPr/>
        </p:nvSpPr>
        <p:spPr bwMode="auto">
          <a:xfrm>
            <a:off x="4724400" y="1917700"/>
            <a:ext cx="228600" cy="228600"/>
          </a:xfrm>
          <a:prstGeom prst="rect">
            <a:avLst/>
          </a:prstGeom>
          <a:solidFill>
            <a:schemeClr val="accent1"/>
          </a:solidFill>
          <a:ln w="9525" algn="ctr">
            <a:noFill/>
            <a:round/>
            <a:headEnd/>
            <a:tailEnd/>
          </a:ln>
        </p:spPr>
        <p:txBody>
          <a:bodyPr anchor="ctr" anchorCtr="1"/>
          <a:lstStyle/>
          <a:p>
            <a:pPr algn="ctr"/>
            <a:r>
              <a:rPr lang="en-US" sz="1200" b="1">
                <a:solidFill>
                  <a:schemeClr val="bg1"/>
                </a:solidFill>
              </a:rPr>
              <a:t>3</a:t>
            </a:r>
          </a:p>
        </p:txBody>
      </p:sp>
      <p:sp>
        <p:nvSpPr>
          <p:cNvPr id="47135" name="Rectangle 50"/>
          <p:cNvSpPr>
            <a:spLocks noChangeArrowheads="1"/>
          </p:cNvSpPr>
          <p:nvPr/>
        </p:nvSpPr>
        <p:spPr bwMode="auto">
          <a:xfrm>
            <a:off x="6858000" y="1917700"/>
            <a:ext cx="228600" cy="228600"/>
          </a:xfrm>
          <a:prstGeom prst="rect">
            <a:avLst/>
          </a:prstGeom>
          <a:solidFill>
            <a:schemeClr val="accent1"/>
          </a:solidFill>
          <a:ln w="9525" algn="ctr">
            <a:noFill/>
            <a:round/>
            <a:headEnd/>
            <a:tailEnd/>
          </a:ln>
        </p:spPr>
        <p:txBody>
          <a:bodyPr anchor="ctr" anchorCtr="1"/>
          <a:lstStyle/>
          <a:p>
            <a:pPr algn="ctr"/>
            <a:r>
              <a:rPr lang="en-US" sz="1200" b="1">
                <a:solidFill>
                  <a:schemeClr val="bg1"/>
                </a:solidFill>
              </a:rPr>
              <a:t>4</a:t>
            </a:r>
          </a:p>
        </p:txBody>
      </p:sp>
      <p:sp>
        <p:nvSpPr>
          <p:cNvPr id="47136" name="Rectangle 20"/>
          <p:cNvSpPr>
            <a:spLocks noChangeArrowheads="1"/>
          </p:cNvSpPr>
          <p:nvPr/>
        </p:nvSpPr>
        <p:spPr bwMode="auto">
          <a:xfrm>
            <a:off x="228600" y="4886325"/>
            <a:ext cx="365125" cy="336550"/>
          </a:xfrm>
          <a:prstGeom prst="rect">
            <a:avLst/>
          </a:prstGeom>
          <a:noFill/>
          <a:ln w="9525">
            <a:noFill/>
            <a:miter lim="800000"/>
            <a:headEnd/>
            <a:tailEnd/>
          </a:ln>
        </p:spPr>
        <p:txBody>
          <a:bodyPr wrap="none" lIns="91436" tIns="45716" rIns="91436" bIns="45716">
            <a:spAutoFit/>
          </a:bodyPr>
          <a:lstStyle/>
          <a:p>
            <a:pPr>
              <a:spcBef>
                <a:spcPct val="20000"/>
              </a:spcBef>
              <a:buClr>
                <a:schemeClr val="tx1"/>
              </a:buClr>
              <a:buFont typeface="Wingdings" pitchFamily="2" charset="2"/>
              <a:buNone/>
            </a:pPr>
            <a:r>
              <a:rPr lang="de-DE">
                <a:solidFill>
                  <a:srgbClr val="00CC99"/>
                </a:solidFill>
                <a:sym typeface="Wingdings" pitchFamily="2" charset="2"/>
              </a:rPr>
              <a:t></a:t>
            </a:r>
          </a:p>
        </p:txBody>
      </p:sp>
      <p:sp>
        <p:nvSpPr>
          <p:cNvPr id="47137" name="Rectangle 20"/>
          <p:cNvSpPr>
            <a:spLocks noChangeArrowheads="1"/>
          </p:cNvSpPr>
          <p:nvPr/>
        </p:nvSpPr>
        <p:spPr bwMode="auto">
          <a:xfrm>
            <a:off x="2378075" y="4884738"/>
            <a:ext cx="365125" cy="336550"/>
          </a:xfrm>
          <a:prstGeom prst="rect">
            <a:avLst/>
          </a:prstGeom>
          <a:noFill/>
          <a:ln w="9525">
            <a:noFill/>
            <a:miter lim="800000"/>
            <a:headEnd/>
            <a:tailEnd/>
          </a:ln>
        </p:spPr>
        <p:txBody>
          <a:bodyPr wrap="none" lIns="91436" tIns="45716" rIns="91436" bIns="45716">
            <a:spAutoFit/>
          </a:bodyPr>
          <a:lstStyle/>
          <a:p>
            <a:pPr>
              <a:spcBef>
                <a:spcPct val="20000"/>
              </a:spcBef>
              <a:buClr>
                <a:schemeClr val="tx1"/>
              </a:buClr>
              <a:buFont typeface="Wingdings" pitchFamily="2" charset="2"/>
              <a:buNone/>
            </a:pPr>
            <a:r>
              <a:rPr lang="de-DE">
                <a:solidFill>
                  <a:srgbClr val="00CC99"/>
                </a:solidFill>
                <a:sym typeface="Wingdings" pitchFamily="2" charset="2"/>
              </a:rPr>
              <a:t></a:t>
            </a:r>
          </a:p>
        </p:txBody>
      </p:sp>
      <p:sp>
        <p:nvSpPr>
          <p:cNvPr id="47138" name="Rectangle 20"/>
          <p:cNvSpPr>
            <a:spLocks noChangeArrowheads="1"/>
          </p:cNvSpPr>
          <p:nvPr/>
        </p:nvSpPr>
        <p:spPr bwMode="auto">
          <a:xfrm>
            <a:off x="2378075" y="5106988"/>
            <a:ext cx="365125" cy="366712"/>
          </a:xfrm>
          <a:prstGeom prst="rect">
            <a:avLst/>
          </a:prstGeom>
          <a:noFill/>
          <a:ln w="9525">
            <a:noFill/>
            <a:miter lim="800000"/>
            <a:headEnd/>
            <a:tailEnd/>
          </a:ln>
        </p:spPr>
        <p:txBody>
          <a:bodyPr lIns="91436" tIns="45716" rIns="91436" bIns="45716">
            <a:spAutoFit/>
          </a:bodyPr>
          <a:lstStyle/>
          <a:p>
            <a:pPr>
              <a:spcBef>
                <a:spcPct val="20000"/>
              </a:spcBef>
              <a:buClr>
                <a:schemeClr val="tx1"/>
              </a:buClr>
              <a:buFont typeface="Wingdings" pitchFamily="2" charset="2"/>
              <a:buNone/>
            </a:pPr>
            <a:r>
              <a:rPr lang="de-DE">
                <a:solidFill>
                  <a:srgbClr val="00CC99"/>
                </a:solidFill>
                <a:sym typeface="Wingdings" pitchFamily="2" charset="2"/>
              </a:rPr>
              <a:t></a:t>
            </a:r>
          </a:p>
        </p:txBody>
      </p:sp>
      <p:sp>
        <p:nvSpPr>
          <p:cNvPr id="47139" name="Rectangle 20"/>
          <p:cNvSpPr>
            <a:spLocks noChangeArrowheads="1"/>
          </p:cNvSpPr>
          <p:nvPr/>
        </p:nvSpPr>
        <p:spPr bwMode="auto">
          <a:xfrm>
            <a:off x="4506913" y="4856163"/>
            <a:ext cx="365125" cy="366712"/>
          </a:xfrm>
          <a:prstGeom prst="rect">
            <a:avLst/>
          </a:prstGeom>
          <a:noFill/>
          <a:ln w="9525">
            <a:noFill/>
            <a:miter lim="800000"/>
            <a:headEnd/>
            <a:tailEnd/>
          </a:ln>
        </p:spPr>
        <p:txBody>
          <a:bodyPr lIns="91436" tIns="45716" rIns="91436" bIns="45716">
            <a:spAutoFit/>
          </a:bodyPr>
          <a:lstStyle/>
          <a:p>
            <a:pPr>
              <a:spcBef>
                <a:spcPct val="20000"/>
              </a:spcBef>
              <a:buClr>
                <a:schemeClr val="tx1"/>
              </a:buClr>
              <a:buFont typeface="Wingdings" pitchFamily="2" charset="2"/>
              <a:buNone/>
            </a:pPr>
            <a:r>
              <a:rPr lang="de-DE">
                <a:solidFill>
                  <a:srgbClr val="00CC99"/>
                </a:solidFill>
                <a:sym typeface="Wingdings" pitchFamily="2" charset="2"/>
              </a:rPr>
              <a:t></a:t>
            </a:r>
          </a:p>
        </p:txBody>
      </p:sp>
      <p:sp>
        <p:nvSpPr>
          <p:cNvPr id="47140" name="Rectangle 20"/>
          <p:cNvSpPr>
            <a:spLocks noChangeArrowheads="1"/>
          </p:cNvSpPr>
          <p:nvPr/>
        </p:nvSpPr>
        <p:spPr bwMode="auto">
          <a:xfrm>
            <a:off x="6672263" y="4862513"/>
            <a:ext cx="365125" cy="336550"/>
          </a:xfrm>
          <a:prstGeom prst="rect">
            <a:avLst/>
          </a:prstGeom>
          <a:noFill/>
          <a:ln w="9525">
            <a:noFill/>
            <a:miter lim="800000"/>
            <a:headEnd/>
            <a:tailEnd/>
          </a:ln>
        </p:spPr>
        <p:txBody>
          <a:bodyPr wrap="none" lIns="91436" tIns="45716" rIns="91436" bIns="45716">
            <a:spAutoFit/>
          </a:bodyPr>
          <a:lstStyle/>
          <a:p>
            <a:pPr>
              <a:spcBef>
                <a:spcPct val="20000"/>
              </a:spcBef>
              <a:buClr>
                <a:schemeClr val="tx1"/>
              </a:buClr>
              <a:buFont typeface="Wingdings" pitchFamily="2" charset="2"/>
              <a:buNone/>
            </a:pPr>
            <a:r>
              <a:rPr lang="de-DE">
                <a:solidFill>
                  <a:srgbClr val="00CC99"/>
                </a:solidFill>
                <a:sym typeface="Wingdings" pitchFamily="2" charset="2"/>
              </a:rPr>
              <a:t></a:t>
            </a:r>
          </a:p>
        </p:txBody>
      </p:sp>
      <p:sp>
        <p:nvSpPr>
          <p:cNvPr id="47141" name="Rectangle 20"/>
          <p:cNvSpPr>
            <a:spLocks noChangeArrowheads="1"/>
          </p:cNvSpPr>
          <p:nvPr/>
        </p:nvSpPr>
        <p:spPr bwMode="auto">
          <a:xfrm>
            <a:off x="6667500" y="5222875"/>
            <a:ext cx="365125" cy="366713"/>
          </a:xfrm>
          <a:prstGeom prst="rect">
            <a:avLst/>
          </a:prstGeom>
          <a:noFill/>
          <a:ln w="9525">
            <a:noFill/>
            <a:miter lim="800000"/>
            <a:headEnd/>
            <a:tailEnd/>
          </a:ln>
        </p:spPr>
        <p:txBody>
          <a:bodyPr lIns="91436" tIns="45716" rIns="91436" bIns="45716">
            <a:spAutoFit/>
          </a:bodyPr>
          <a:lstStyle/>
          <a:p>
            <a:pPr>
              <a:spcBef>
                <a:spcPct val="20000"/>
              </a:spcBef>
              <a:buClr>
                <a:schemeClr val="tx1"/>
              </a:buClr>
              <a:buFont typeface="Wingdings" pitchFamily="2" charset="2"/>
              <a:buNone/>
            </a:pPr>
            <a:r>
              <a:rPr lang="de-DE">
                <a:solidFill>
                  <a:srgbClr val="00CC99"/>
                </a:solidFill>
                <a:sym typeface="Wingdings" pitchFamily="2" charset="2"/>
              </a:rPr>
              <a:t></a:t>
            </a:r>
          </a:p>
        </p:txBody>
      </p:sp>
      <p:sp>
        <p:nvSpPr>
          <p:cNvPr id="47142" name="Rectangle 20"/>
          <p:cNvSpPr>
            <a:spLocks noChangeArrowheads="1"/>
          </p:cNvSpPr>
          <p:nvPr/>
        </p:nvSpPr>
        <p:spPr bwMode="auto">
          <a:xfrm>
            <a:off x="6667500" y="5038725"/>
            <a:ext cx="365125" cy="366713"/>
          </a:xfrm>
          <a:prstGeom prst="rect">
            <a:avLst/>
          </a:prstGeom>
          <a:noFill/>
          <a:ln w="9525">
            <a:noFill/>
            <a:miter lim="800000"/>
            <a:headEnd/>
            <a:tailEnd/>
          </a:ln>
        </p:spPr>
        <p:txBody>
          <a:bodyPr lIns="91436" tIns="45716" rIns="91436" bIns="45716">
            <a:spAutoFit/>
          </a:bodyPr>
          <a:lstStyle/>
          <a:p>
            <a:pPr>
              <a:spcBef>
                <a:spcPct val="20000"/>
              </a:spcBef>
              <a:buClr>
                <a:schemeClr val="tx1"/>
              </a:buClr>
              <a:buFont typeface="Wingdings" pitchFamily="2" charset="2"/>
              <a:buNone/>
            </a:pPr>
            <a:r>
              <a:rPr lang="de-DE">
                <a:solidFill>
                  <a:srgbClr val="00CC99"/>
                </a:solidFill>
                <a:sym typeface="Wingdings" pitchFamily="2" charset="2"/>
              </a:rPr>
              <a:t></a:t>
            </a:r>
          </a:p>
        </p:txBody>
      </p:sp>
      <p:sp>
        <p:nvSpPr>
          <p:cNvPr id="47143" name="Rectangle 20"/>
          <p:cNvSpPr>
            <a:spLocks noChangeArrowheads="1"/>
          </p:cNvSpPr>
          <p:nvPr/>
        </p:nvSpPr>
        <p:spPr bwMode="auto">
          <a:xfrm>
            <a:off x="244475" y="5199063"/>
            <a:ext cx="365125" cy="366712"/>
          </a:xfrm>
          <a:prstGeom prst="rect">
            <a:avLst/>
          </a:prstGeom>
          <a:noFill/>
          <a:ln w="9525">
            <a:noFill/>
            <a:miter lim="800000"/>
            <a:headEnd/>
            <a:tailEnd/>
          </a:ln>
        </p:spPr>
        <p:txBody>
          <a:bodyPr lIns="91436" tIns="45716" rIns="91436" bIns="45716">
            <a:spAutoFit/>
          </a:bodyPr>
          <a:lstStyle/>
          <a:p>
            <a:pPr>
              <a:spcBef>
                <a:spcPct val="20000"/>
              </a:spcBef>
              <a:buClr>
                <a:schemeClr val="tx1"/>
              </a:buClr>
              <a:buFont typeface="Wingdings" pitchFamily="2" charset="2"/>
              <a:buNone/>
            </a:pPr>
            <a:r>
              <a:rPr lang="de-DE">
                <a:solidFill>
                  <a:srgbClr val="00CC99"/>
                </a:solidFill>
                <a:sym typeface="Wingdings" pitchFamily="2" charset="2"/>
              </a:rPr>
              <a:t></a:t>
            </a:r>
          </a:p>
        </p:txBody>
      </p:sp>
      <p:sp>
        <p:nvSpPr>
          <p:cNvPr id="47144" name="Rectangle 43"/>
          <p:cNvSpPr>
            <a:spLocks noChangeArrowheads="1"/>
          </p:cNvSpPr>
          <p:nvPr/>
        </p:nvSpPr>
        <p:spPr bwMode="auto">
          <a:xfrm>
            <a:off x="2378075" y="5441950"/>
            <a:ext cx="387350" cy="366713"/>
          </a:xfrm>
          <a:prstGeom prst="rect">
            <a:avLst/>
          </a:prstGeom>
          <a:noFill/>
          <a:ln w="9525">
            <a:noFill/>
            <a:miter lim="800000"/>
            <a:headEnd/>
            <a:tailEnd/>
          </a:ln>
        </p:spPr>
        <p:txBody>
          <a:bodyPr wrap="none">
            <a:spAutoFit/>
          </a:bodyPr>
          <a:lstStyle/>
          <a:p>
            <a:pPr>
              <a:spcBef>
                <a:spcPct val="20000"/>
              </a:spcBef>
              <a:buClr>
                <a:schemeClr val="tx1"/>
              </a:buClr>
              <a:buFont typeface="Wingdings" pitchFamily="2" charset="2"/>
              <a:buNone/>
            </a:pPr>
            <a:r>
              <a:rPr lang="de-DE">
                <a:solidFill>
                  <a:srgbClr val="00CC99"/>
                </a:solidFill>
                <a:sym typeface="Wingdings" pitchFamily="2" charset="2"/>
              </a:rPr>
              <a:t></a:t>
            </a:r>
          </a:p>
        </p:txBody>
      </p:sp>
      <p:sp>
        <p:nvSpPr>
          <p:cNvPr id="47145" name="Rectangle 44"/>
          <p:cNvSpPr>
            <a:spLocks noChangeArrowheads="1"/>
          </p:cNvSpPr>
          <p:nvPr/>
        </p:nvSpPr>
        <p:spPr bwMode="auto">
          <a:xfrm>
            <a:off x="4506913" y="5075238"/>
            <a:ext cx="233362" cy="366712"/>
          </a:xfrm>
          <a:prstGeom prst="rect">
            <a:avLst/>
          </a:prstGeom>
          <a:noFill/>
          <a:ln w="9525">
            <a:noFill/>
            <a:miter lim="800000"/>
            <a:headEnd/>
            <a:tailEnd/>
          </a:ln>
        </p:spPr>
        <p:txBody>
          <a:bodyPr>
            <a:spAutoFit/>
          </a:bodyPr>
          <a:lstStyle/>
          <a:p>
            <a:r>
              <a:rPr lang="de-DE">
                <a:solidFill>
                  <a:srgbClr val="00CC99"/>
                </a:solidFill>
                <a:sym typeface="Wingdings" pitchFamily="2" charset="2"/>
              </a:rPr>
              <a:t></a:t>
            </a:r>
            <a:endParaRPr lang="en-US">
              <a:solidFill>
                <a:srgbClr val="00CC99"/>
              </a:solidFill>
              <a:sym typeface="Wingdings" pitchFamily="2" charset="2"/>
            </a:endParaRPr>
          </a:p>
        </p:txBody>
      </p:sp>
      <p:sp>
        <p:nvSpPr>
          <p:cNvPr id="47146" name="Rectangle 45"/>
          <p:cNvSpPr>
            <a:spLocks noChangeArrowheads="1"/>
          </p:cNvSpPr>
          <p:nvPr/>
        </p:nvSpPr>
        <p:spPr bwMode="auto">
          <a:xfrm>
            <a:off x="4530725" y="5441950"/>
            <a:ext cx="233363" cy="366713"/>
          </a:xfrm>
          <a:prstGeom prst="rect">
            <a:avLst/>
          </a:prstGeom>
          <a:noFill/>
          <a:ln w="9525">
            <a:noFill/>
            <a:miter lim="800000"/>
            <a:headEnd/>
            <a:tailEnd/>
          </a:ln>
        </p:spPr>
        <p:txBody>
          <a:bodyPr>
            <a:spAutoFit/>
          </a:bodyPr>
          <a:lstStyle/>
          <a:p>
            <a:r>
              <a:rPr lang="de-DE">
                <a:solidFill>
                  <a:srgbClr val="00CC99"/>
                </a:solidFill>
                <a:sym typeface="Wingdings" pitchFamily="2" charset="2"/>
              </a:rPr>
              <a:t></a:t>
            </a:r>
            <a:endParaRPr lang="en-US">
              <a:solidFill>
                <a:srgbClr val="00CC99"/>
              </a:solidFill>
              <a:sym typeface="Wingdings" pitchFamily="2" charset="2"/>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Rectangle 2"/>
          <p:cNvSpPr>
            <a:spLocks noGrp="1" noChangeArrowheads="1"/>
          </p:cNvSpPr>
          <p:nvPr>
            <p:ph type="title" idx="4294967295"/>
          </p:nvPr>
        </p:nvSpPr>
        <p:spPr>
          <a:xfrm>
            <a:off x="182563" y="257175"/>
            <a:ext cx="6981825" cy="701675"/>
          </a:xfrm>
        </p:spPr>
        <p:txBody>
          <a:bodyPr tIns="131760"/>
          <a:lstStyle/>
          <a:p>
            <a:pPr eaLnBrk="1" hangingPunct="1">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pPr>
            <a:r>
              <a:rPr lang="en-US" smtClean="0"/>
              <a:t>ALCS members contributed to the project with their passion, expertise and tremendous Moroccan hospitality </a:t>
            </a:r>
          </a:p>
        </p:txBody>
      </p:sp>
      <p:sp>
        <p:nvSpPr>
          <p:cNvPr id="48130" name="Slide Number Placeholder 4"/>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4A45B759-7DB2-4DC2-B8F9-A837F7BE6492}" type="slidenum">
              <a:rPr lang="en-US" sz="800"/>
              <a:pPr/>
              <a:t>7</a:t>
            </a:fld>
            <a:endParaRPr lang="en-US" sz="800"/>
          </a:p>
        </p:txBody>
      </p:sp>
      <p:pic>
        <p:nvPicPr>
          <p:cNvPr id="48131" name="Picture 10" descr="IMAG0175"/>
          <p:cNvPicPr preferRelativeResize="0">
            <a:picLocks noChangeArrowheads="1"/>
          </p:cNvPicPr>
          <p:nvPr/>
        </p:nvPicPr>
        <p:blipFill>
          <a:blip r:embed="rId3"/>
          <a:srcRect/>
          <a:stretch>
            <a:fillRect/>
          </a:stretch>
        </p:blipFill>
        <p:spPr bwMode="auto">
          <a:xfrm>
            <a:off x="-6575425" y="-8883650"/>
            <a:ext cx="658812" cy="393700"/>
          </a:xfrm>
          <a:prstGeom prst="rect">
            <a:avLst/>
          </a:prstGeom>
          <a:noFill/>
          <a:ln w="9525">
            <a:noFill/>
            <a:miter lim="800000"/>
            <a:headEnd/>
            <a:tailEnd/>
          </a:ln>
        </p:spPr>
      </p:pic>
      <p:pic>
        <p:nvPicPr>
          <p:cNvPr id="48132" name="Picture 3" descr="C:\Users\IBM_ADMIN\Dropbox\2014 CSC Maroc\Maroc csc\ALCS Work Pictures\Gerry\IMAG0095.jpg"/>
          <p:cNvPicPr>
            <a:picLocks noChangeAspect="1" noChangeArrowheads="1"/>
          </p:cNvPicPr>
          <p:nvPr/>
        </p:nvPicPr>
        <p:blipFill>
          <a:blip r:embed="rId4"/>
          <a:srcRect/>
          <a:stretch>
            <a:fillRect/>
          </a:stretch>
        </p:blipFill>
        <p:spPr bwMode="auto">
          <a:xfrm>
            <a:off x="434975" y="4295775"/>
            <a:ext cx="3762375" cy="2252663"/>
          </a:xfrm>
          <a:prstGeom prst="rect">
            <a:avLst/>
          </a:prstGeom>
          <a:noFill/>
          <a:ln w="9525">
            <a:noFill/>
            <a:miter lim="800000"/>
            <a:headEnd/>
            <a:tailEnd/>
          </a:ln>
        </p:spPr>
      </p:pic>
      <p:pic>
        <p:nvPicPr>
          <p:cNvPr id="48133" name="Picture 4" descr="C:\Users\IBM_ADMIN\Dropbox\2014 CSC Maroc\Maroc csc\ALCS Work Pictures\Gerry\IMG_5269.JPG"/>
          <p:cNvPicPr>
            <a:picLocks noChangeAspect="1" noChangeArrowheads="1"/>
          </p:cNvPicPr>
          <p:nvPr/>
        </p:nvPicPr>
        <p:blipFill>
          <a:blip r:embed="rId5"/>
          <a:srcRect/>
          <a:stretch>
            <a:fillRect/>
          </a:stretch>
        </p:blipFill>
        <p:spPr bwMode="auto">
          <a:xfrm>
            <a:off x="434975" y="1344613"/>
            <a:ext cx="3762375" cy="2822575"/>
          </a:xfrm>
          <a:prstGeom prst="rect">
            <a:avLst/>
          </a:prstGeom>
          <a:noFill/>
          <a:ln w="9525">
            <a:noFill/>
            <a:miter lim="800000"/>
            <a:headEnd/>
            <a:tailEnd/>
          </a:ln>
        </p:spPr>
      </p:pic>
      <p:pic>
        <p:nvPicPr>
          <p:cNvPr id="48134" name="Picture 6" descr="C:\Users\IBM_ADMIN\Desktop\CSC-Morocco\2014-05-09 12.17.18.jpg"/>
          <p:cNvPicPr>
            <a:picLocks noChangeAspect="1" noChangeArrowheads="1"/>
          </p:cNvPicPr>
          <p:nvPr/>
        </p:nvPicPr>
        <p:blipFill>
          <a:blip r:embed="rId6"/>
          <a:srcRect/>
          <a:stretch>
            <a:fillRect/>
          </a:stretch>
        </p:blipFill>
        <p:spPr bwMode="auto">
          <a:xfrm>
            <a:off x="4216400" y="2039938"/>
            <a:ext cx="4927600" cy="3695700"/>
          </a:xfrm>
          <a:prstGeom prst="rect">
            <a:avLst/>
          </a:prstGeom>
          <a:noFill/>
          <a:ln w="9525">
            <a:noFill/>
            <a:miter lim="800000"/>
            <a:headEnd/>
            <a:tailEnd/>
          </a:ln>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1"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2F27C99D-9855-47DB-9640-D1B27600013F}" type="slidenum">
              <a:rPr lang="en-US" sz="800"/>
              <a:pPr/>
              <a:t>8</a:t>
            </a:fld>
            <a:endParaRPr lang="en-US" sz="800"/>
          </a:p>
        </p:txBody>
      </p:sp>
      <p:sp>
        <p:nvSpPr>
          <p:cNvPr id="51202" name="Rectangle 2"/>
          <p:cNvSpPr>
            <a:spLocks noGrp="1" noChangeArrowheads="1"/>
          </p:cNvSpPr>
          <p:nvPr>
            <p:ph type="body" idx="4294967295"/>
          </p:nvPr>
        </p:nvSpPr>
        <p:spPr>
          <a:xfrm>
            <a:off x="1476375" y="1125538"/>
            <a:ext cx="7392988" cy="4937125"/>
          </a:xfrm>
        </p:spPr>
        <p:txBody>
          <a:bodyPr/>
          <a:lstStyle/>
          <a:p>
            <a:pPr eaLnBrk="1" hangingPunct="1"/>
            <a:endParaRPr lang="de-DE" smtClean="0"/>
          </a:p>
          <a:p>
            <a:pPr eaLnBrk="1" hangingPunct="1"/>
            <a:endParaRPr lang="de-DE" smtClean="0"/>
          </a:p>
          <a:p>
            <a:pPr eaLnBrk="1" hangingPunct="1"/>
            <a:endParaRPr lang="de-DE" smtClean="0"/>
          </a:p>
          <a:p>
            <a:pPr eaLnBrk="1" hangingPunct="1"/>
            <a:r>
              <a:rPr lang="de-DE" smtClean="0"/>
              <a:t>SWOT analysis</a:t>
            </a:r>
          </a:p>
          <a:p>
            <a:pPr eaLnBrk="1" hangingPunct="1"/>
            <a:r>
              <a:rPr lang="de-DE" smtClean="0"/>
              <a:t>Project Parameters</a:t>
            </a:r>
          </a:p>
          <a:p>
            <a:pPr eaLnBrk="1" hangingPunct="1"/>
            <a:endParaRPr lang="de-DE" smtClean="0"/>
          </a:p>
        </p:txBody>
      </p:sp>
      <p:grpSp>
        <p:nvGrpSpPr>
          <p:cNvPr id="51203" name="Group 3"/>
          <p:cNvGrpSpPr>
            <a:grpSpLocks/>
          </p:cNvGrpSpPr>
          <p:nvPr/>
        </p:nvGrpSpPr>
        <p:grpSpPr bwMode="auto">
          <a:xfrm>
            <a:off x="0" y="1408113"/>
            <a:ext cx="8869363" cy="503237"/>
            <a:chOff x="0" y="1071"/>
            <a:chExt cx="5587" cy="317"/>
          </a:xfrm>
        </p:grpSpPr>
        <p:sp>
          <p:nvSpPr>
            <p:cNvPr id="51224" name="Oval 4"/>
            <p:cNvSpPr>
              <a:spLocks noChangeArrowheads="1"/>
            </p:cNvSpPr>
            <p:nvPr>
              <p:custDataLst>
                <p:tags r:id="rId9"/>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1</a:t>
              </a:r>
            </a:p>
          </p:txBody>
        </p:sp>
        <p:sp>
          <p:nvSpPr>
            <p:cNvPr id="51225" name="Rectangle 5"/>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51226" name="Rectangle 6"/>
            <p:cNvSpPr>
              <a:spLocks noChangeArrowheads="1"/>
            </p:cNvSpPr>
            <p:nvPr>
              <p:custDataLst>
                <p:tags r:id="rId10"/>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51227" name="Rectangle 7"/>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t>Analysis and Assessment</a:t>
              </a:r>
              <a:endParaRPr lang="de-DE"/>
            </a:p>
          </p:txBody>
        </p:sp>
      </p:grpSp>
      <p:grpSp>
        <p:nvGrpSpPr>
          <p:cNvPr id="51204" name="Group 8"/>
          <p:cNvGrpSpPr>
            <a:grpSpLocks/>
          </p:cNvGrpSpPr>
          <p:nvPr/>
        </p:nvGrpSpPr>
        <p:grpSpPr bwMode="auto">
          <a:xfrm>
            <a:off x="0" y="3221038"/>
            <a:ext cx="8869363" cy="503237"/>
            <a:chOff x="0" y="1071"/>
            <a:chExt cx="5587" cy="317"/>
          </a:xfrm>
        </p:grpSpPr>
        <p:sp>
          <p:nvSpPr>
            <p:cNvPr id="51220" name="Oval 9"/>
            <p:cNvSpPr>
              <a:spLocks noChangeArrowheads="1"/>
            </p:cNvSpPr>
            <p:nvPr>
              <p:custDataLst>
                <p:tags r:id="rId7"/>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3</a:t>
              </a:r>
            </a:p>
          </p:txBody>
        </p:sp>
        <p:sp>
          <p:nvSpPr>
            <p:cNvPr id="51221" name="Rectangle 1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51222" name="Rectangle 11"/>
            <p:cNvSpPr>
              <a:spLocks noChangeArrowheads="1"/>
            </p:cNvSpPr>
            <p:nvPr>
              <p:custDataLst>
                <p:tags r:id="rId8"/>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51223" name="Rectangle 1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Design Considerations</a:t>
              </a:r>
            </a:p>
          </p:txBody>
        </p:sp>
      </p:grpSp>
      <p:grpSp>
        <p:nvGrpSpPr>
          <p:cNvPr id="51205" name="Group 13"/>
          <p:cNvGrpSpPr>
            <a:grpSpLocks/>
          </p:cNvGrpSpPr>
          <p:nvPr/>
        </p:nvGrpSpPr>
        <p:grpSpPr bwMode="auto">
          <a:xfrm>
            <a:off x="0" y="2590800"/>
            <a:ext cx="8869363" cy="503238"/>
            <a:chOff x="0" y="1071"/>
            <a:chExt cx="5587" cy="317"/>
          </a:xfrm>
        </p:grpSpPr>
        <p:sp>
          <p:nvSpPr>
            <p:cNvPr id="51216" name="Oval 14"/>
            <p:cNvSpPr>
              <a:spLocks noChangeArrowheads="1"/>
            </p:cNvSpPr>
            <p:nvPr>
              <p:custDataLst>
                <p:tags r:id="rId5"/>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2</a:t>
              </a:r>
            </a:p>
          </p:txBody>
        </p:sp>
        <p:sp>
          <p:nvSpPr>
            <p:cNvPr id="51217" name="Rectangle 15"/>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51218" name="Rectangle 16"/>
            <p:cNvSpPr>
              <a:spLocks noChangeArrowheads="1"/>
            </p:cNvSpPr>
            <p:nvPr>
              <p:custDataLst>
                <p:tags r:id="rId6"/>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51219" name="Rectangle 17"/>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Design Recommendations</a:t>
              </a:r>
            </a:p>
          </p:txBody>
        </p:sp>
      </p:grpSp>
      <p:grpSp>
        <p:nvGrpSpPr>
          <p:cNvPr id="51206" name="Group 18"/>
          <p:cNvGrpSpPr>
            <a:grpSpLocks/>
          </p:cNvGrpSpPr>
          <p:nvPr/>
        </p:nvGrpSpPr>
        <p:grpSpPr bwMode="auto">
          <a:xfrm>
            <a:off x="-9525" y="3868738"/>
            <a:ext cx="8869363" cy="503237"/>
            <a:chOff x="0" y="1071"/>
            <a:chExt cx="5587" cy="317"/>
          </a:xfrm>
        </p:grpSpPr>
        <p:sp>
          <p:nvSpPr>
            <p:cNvPr id="51212" name="Oval 19"/>
            <p:cNvSpPr>
              <a:spLocks noChangeArrowheads="1"/>
            </p:cNvSpPr>
            <p:nvPr>
              <p:custDataLst>
                <p:tags r:id="rId3"/>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4</a:t>
              </a:r>
            </a:p>
          </p:txBody>
        </p:sp>
        <p:sp>
          <p:nvSpPr>
            <p:cNvPr id="51213" name="Rectangle 2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51214" name="Rectangle 21"/>
            <p:cNvSpPr>
              <a:spLocks noChangeArrowheads="1"/>
            </p:cNvSpPr>
            <p:nvPr>
              <p:custDataLst>
                <p:tags r:id="rId4"/>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51215" name="Rectangle 2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dditional Recommendations for Prioritized Projects</a:t>
              </a:r>
            </a:p>
          </p:txBody>
        </p:sp>
      </p:grpSp>
      <p:grpSp>
        <p:nvGrpSpPr>
          <p:cNvPr id="51207" name="Group 18"/>
          <p:cNvGrpSpPr>
            <a:grpSpLocks/>
          </p:cNvGrpSpPr>
          <p:nvPr/>
        </p:nvGrpSpPr>
        <p:grpSpPr bwMode="auto">
          <a:xfrm>
            <a:off x="-42863" y="4510088"/>
            <a:ext cx="8869363" cy="503237"/>
            <a:chOff x="0" y="1071"/>
            <a:chExt cx="5587" cy="317"/>
          </a:xfrm>
        </p:grpSpPr>
        <p:sp>
          <p:nvSpPr>
            <p:cNvPr id="51208" name="Oval 19"/>
            <p:cNvSpPr>
              <a:spLocks noChangeArrowheads="1"/>
            </p:cNvSpPr>
            <p:nvPr>
              <p:custDataLst>
                <p:tags r:id="rId1"/>
              </p:custDataLst>
            </p:nvPr>
          </p:nvSpPr>
          <p:spPr bwMode="gray">
            <a:xfrm>
              <a:off x="28" y="1071"/>
              <a:ext cx="317" cy="317"/>
            </a:xfrm>
            <a:prstGeom prst="ellipse">
              <a:avLst/>
            </a:prstGeom>
            <a:solidFill>
              <a:schemeClr val="hlink"/>
            </a:solidFill>
            <a:ln w="9525">
              <a:solidFill>
                <a:schemeClr val="hlink"/>
              </a:solidFill>
              <a:round/>
              <a:headEnd/>
              <a:tailEnd/>
            </a:ln>
          </p:spPr>
          <p:txBody>
            <a:bodyPr wrap="none" lIns="0" tIns="0" rIns="0" bIns="0" anchor="ctr"/>
            <a:lstStyle/>
            <a:p>
              <a:pPr algn="r"/>
              <a:r>
                <a:rPr lang="de-DE" b="1">
                  <a:solidFill>
                    <a:schemeClr val="bg1"/>
                  </a:solidFill>
                </a:rPr>
                <a:t>5</a:t>
              </a:r>
            </a:p>
          </p:txBody>
        </p:sp>
        <p:sp>
          <p:nvSpPr>
            <p:cNvPr id="51209" name="Rectangle 20"/>
            <p:cNvSpPr>
              <a:spLocks noChangeArrowheads="1"/>
            </p:cNvSpPr>
            <p:nvPr/>
          </p:nvSpPr>
          <p:spPr bwMode="gray">
            <a:xfrm>
              <a:off x="0" y="1071"/>
              <a:ext cx="5587" cy="317"/>
            </a:xfrm>
            <a:prstGeom prst="rect">
              <a:avLst/>
            </a:prstGeom>
            <a:noFill/>
            <a:ln w="9525">
              <a:solidFill>
                <a:schemeClr val="hlink"/>
              </a:solidFill>
              <a:miter lim="800000"/>
              <a:headEnd/>
              <a:tailEnd/>
            </a:ln>
          </p:spPr>
          <p:txBody>
            <a:bodyPr wrap="none" lIns="91436" tIns="45716" rIns="91436" bIns="45716" anchor="ctr"/>
            <a:lstStyle/>
            <a:p>
              <a:pPr marL="266700"/>
              <a:endParaRPr lang="de-DE"/>
            </a:p>
          </p:txBody>
        </p:sp>
        <p:sp>
          <p:nvSpPr>
            <p:cNvPr id="51210" name="Rectangle 21"/>
            <p:cNvSpPr>
              <a:spLocks noChangeArrowheads="1"/>
            </p:cNvSpPr>
            <p:nvPr>
              <p:custDataLst>
                <p:tags r:id="rId2"/>
              </p:custDataLst>
            </p:nvPr>
          </p:nvSpPr>
          <p:spPr bwMode="gray">
            <a:xfrm>
              <a:off x="0" y="1071"/>
              <a:ext cx="172" cy="317"/>
            </a:xfrm>
            <a:prstGeom prst="rect">
              <a:avLst/>
            </a:prstGeom>
            <a:solidFill>
              <a:schemeClr val="hlink"/>
            </a:solidFill>
            <a:ln w="9525">
              <a:noFill/>
              <a:miter lim="800000"/>
              <a:headEnd/>
              <a:tailEnd/>
            </a:ln>
          </p:spPr>
          <p:txBody>
            <a:bodyPr wrap="none" anchor="ctr"/>
            <a:lstStyle/>
            <a:p>
              <a:endParaRPr lang="en-US"/>
            </a:p>
          </p:txBody>
        </p:sp>
        <p:sp>
          <p:nvSpPr>
            <p:cNvPr id="51211" name="Rectangle 22"/>
            <p:cNvSpPr>
              <a:spLocks noChangeArrowheads="1"/>
            </p:cNvSpPr>
            <p:nvPr/>
          </p:nvSpPr>
          <p:spPr bwMode="gray">
            <a:xfrm>
              <a:off x="410" y="1100"/>
              <a:ext cx="5156" cy="260"/>
            </a:xfrm>
            <a:prstGeom prst="rect">
              <a:avLst/>
            </a:prstGeom>
            <a:gradFill rotWithShape="1">
              <a:gsLst>
                <a:gs pos="0">
                  <a:srgbClr val="FFFFFF"/>
                </a:gs>
                <a:gs pos="100000">
                  <a:srgbClr val="D9D9D9"/>
                </a:gs>
              </a:gsLst>
              <a:lin ang="0" scaled="1"/>
            </a:gradFill>
            <a:ln w="9525">
              <a:noFill/>
              <a:miter lim="800000"/>
              <a:headEnd/>
              <a:tailEnd/>
            </a:ln>
          </p:spPr>
          <p:txBody>
            <a:bodyPr wrap="none" lIns="0" tIns="45716" rIns="91436" bIns="45716" anchor="ctr"/>
            <a:lstStyle/>
            <a:p>
              <a:r>
                <a:rPr lang="de-DE" b="1">
                  <a:solidFill>
                    <a:srgbClr val="C0C0C0"/>
                  </a:solidFill>
                </a:rPr>
                <a:t>Appendix</a:t>
              </a:r>
            </a:p>
          </p:txBody>
        </p:sp>
      </p:gr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9"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9B505262-9E6B-45D5-951A-79D9F794BCA5}" type="slidenum">
              <a:rPr lang="en-US" sz="800"/>
              <a:pPr/>
              <a:t>9</a:t>
            </a:fld>
            <a:endParaRPr lang="en-US" sz="800"/>
          </a:p>
        </p:txBody>
      </p:sp>
      <p:sp>
        <p:nvSpPr>
          <p:cNvPr id="53250" name="Rectangle 4"/>
          <p:cNvSpPr>
            <a:spLocks noChangeArrowheads="1"/>
          </p:cNvSpPr>
          <p:nvPr/>
        </p:nvSpPr>
        <p:spPr bwMode="auto">
          <a:xfrm>
            <a:off x="4659313" y="1531938"/>
            <a:ext cx="4484687" cy="2286000"/>
          </a:xfrm>
          <a:prstGeom prst="rect">
            <a:avLst/>
          </a:prstGeom>
          <a:noFill/>
          <a:ln w="9525">
            <a:noFill/>
            <a:miter lim="800000"/>
            <a:headEnd/>
            <a:tailEnd/>
          </a:ln>
        </p:spPr>
        <p:txBody>
          <a:bodyPr lIns="91436" tIns="45716" rIns="91436" bIns="45716"/>
          <a:lstStyle/>
          <a:p>
            <a:pPr marL="180975" indent="-180975" algn="ctr">
              <a:spcBef>
                <a:spcPct val="20000"/>
              </a:spcBef>
              <a:buClr>
                <a:srgbClr val="7889FB"/>
              </a:buClr>
              <a:buFont typeface="Wingdings" pitchFamily="2" charset="2"/>
              <a:buNone/>
            </a:pPr>
            <a:r>
              <a:rPr lang="en-US" b="1">
                <a:solidFill>
                  <a:srgbClr val="0070C0"/>
                </a:solidFill>
              </a:rPr>
              <a:t>Weaknesses</a:t>
            </a:r>
            <a:endParaRPr lang="en-US" sz="1300">
              <a:solidFill>
                <a:srgbClr val="0070C0"/>
              </a:solidFill>
            </a:endParaRPr>
          </a:p>
          <a:p>
            <a:pPr marL="180975" indent="-180975">
              <a:spcBef>
                <a:spcPts val="600"/>
              </a:spcBef>
              <a:buClr>
                <a:srgbClr val="7889FB"/>
              </a:buClr>
              <a:buFont typeface="Wingdings" pitchFamily="2" charset="2"/>
              <a:buChar char="§"/>
            </a:pPr>
            <a:r>
              <a:rPr lang="en-US" sz="1400"/>
              <a:t>Lack of secure global funding sources in the future</a:t>
            </a:r>
          </a:p>
          <a:p>
            <a:pPr marL="180975" indent="-180975">
              <a:spcBef>
                <a:spcPts val="600"/>
              </a:spcBef>
              <a:buClr>
                <a:srgbClr val="7889FB"/>
              </a:buClr>
              <a:buFont typeface="Wingdings" pitchFamily="2" charset="2"/>
              <a:buChar char="§"/>
            </a:pPr>
            <a:r>
              <a:rPr lang="en-US" sz="1400"/>
              <a:t>Strong dependency on individual funding resource commitments and their compliance requirements</a:t>
            </a:r>
          </a:p>
          <a:p>
            <a:pPr marL="180975" indent="-180975">
              <a:spcBef>
                <a:spcPts val="600"/>
              </a:spcBef>
              <a:buClr>
                <a:srgbClr val="7889FB"/>
              </a:buClr>
              <a:buFont typeface="Wingdings" pitchFamily="2" charset="2"/>
              <a:buChar char="§"/>
            </a:pPr>
            <a:r>
              <a:rPr lang="en-US" sz="1400"/>
              <a:t>Cumbersome methods to report program effectiveness; return on investments</a:t>
            </a:r>
          </a:p>
          <a:p>
            <a:pPr marL="180975" indent="-180975">
              <a:spcBef>
                <a:spcPts val="600"/>
              </a:spcBef>
              <a:buClr>
                <a:srgbClr val="7889FB"/>
              </a:buClr>
              <a:buFont typeface="Wingdings" pitchFamily="2" charset="2"/>
              <a:buChar char="§"/>
            </a:pPr>
            <a:r>
              <a:rPr lang="en-US" sz="1400"/>
              <a:t>Manual business operations and limited use of IT infrastructure</a:t>
            </a:r>
          </a:p>
          <a:p>
            <a:pPr marL="180975" indent="-180975">
              <a:spcBef>
                <a:spcPts val="600"/>
              </a:spcBef>
              <a:buClr>
                <a:srgbClr val="7889FB"/>
              </a:buClr>
              <a:buFont typeface="Wingdings" pitchFamily="2" charset="2"/>
              <a:buChar char="§"/>
            </a:pPr>
            <a:r>
              <a:rPr lang="en-US" sz="1400"/>
              <a:t>Limited physical and cyber security in place; lack of back up/disaster recovery plan</a:t>
            </a:r>
          </a:p>
          <a:p>
            <a:pPr marL="180975" indent="-180975">
              <a:spcBef>
                <a:spcPts val="600"/>
              </a:spcBef>
              <a:buClr>
                <a:srgbClr val="7889FB"/>
              </a:buClr>
              <a:buFont typeface="Wingdings" pitchFamily="2" charset="2"/>
              <a:buChar char="§"/>
            </a:pPr>
            <a:r>
              <a:rPr lang="en-US" sz="1400"/>
              <a:t>Limited use of social media to tap funding sources/ potential donors</a:t>
            </a:r>
          </a:p>
          <a:p>
            <a:pPr marL="180975" indent="-180975">
              <a:spcBef>
                <a:spcPts val="600"/>
              </a:spcBef>
              <a:buClr>
                <a:srgbClr val="7889FB"/>
              </a:buClr>
              <a:buFont typeface="Wingdings" pitchFamily="2" charset="2"/>
              <a:buChar char="§"/>
            </a:pPr>
            <a:r>
              <a:rPr lang="en-US" sz="1400"/>
              <a:t>Strong dependency on individual personnel performance, limited succession planning</a:t>
            </a:r>
          </a:p>
          <a:p>
            <a:pPr marL="180975" indent="-180975">
              <a:spcBef>
                <a:spcPts val="600"/>
              </a:spcBef>
              <a:buClr>
                <a:srgbClr val="7889FB"/>
              </a:buClr>
              <a:buFont typeface="Wingdings" pitchFamily="2" charset="2"/>
              <a:buChar char="§"/>
            </a:pPr>
            <a:r>
              <a:rPr lang="en-US" sz="1400"/>
              <a:t>Limited personnel resources for IT infrastructure support;  limited IT capacity for field and mobile units</a:t>
            </a:r>
          </a:p>
          <a:p>
            <a:pPr marL="180975" indent="-180975">
              <a:spcBef>
                <a:spcPts val="600"/>
              </a:spcBef>
              <a:buClr>
                <a:srgbClr val="7889FB"/>
              </a:buClr>
              <a:buFont typeface="Wingdings" pitchFamily="2" charset="2"/>
              <a:buChar char="§"/>
            </a:pPr>
            <a:endParaRPr lang="en-US" sz="1400"/>
          </a:p>
        </p:txBody>
      </p:sp>
      <p:sp>
        <p:nvSpPr>
          <p:cNvPr id="53251" name="Rectangle 7"/>
          <p:cNvSpPr>
            <a:spLocks noChangeArrowheads="1"/>
          </p:cNvSpPr>
          <p:nvPr/>
        </p:nvSpPr>
        <p:spPr bwMode="auto">
          <a:xfrm>
            <a:off x="190500" y="1524000"/>
            <a:ext cx="4122738" cy="2524125"/>
          </a:xfrm>
          <a:prstGeom prst="rect">
            <a:avLst/>
          </a:prstGeom>
          <a:noFill/>
          <a:ln w="9525">
            <a:noFill/>
            <a:miter lim="800000"/>
            <a:headEnd/>
            <a:tailEnd/>
          </a:ln>
        </p:spPr>
        <p:txBody>
          <a:bodyPr lIns="91436" tIns="45716" rIns="91436" bIns="45716"/>
          <a:lstStyle/>
          <a:p>
            <a:pPr marL="180975" indent="-180975" algn="ctr">
              <a:spcBef>
                <a:spcPct val="20000"/>
              </a:spcBef>
              <a:buClr>
                <a:srgbClr val="7889FB"/>
              </a:buClr>
              <a:buFont typeface="Wingdings" pitchFamily="2" charset="2"/>
              <a:buNone/>
            </a:pPr>
            <a:r>
              <a:rPr lang="en-US" b="1">
                <a:solidFill>
                  <a:srgbClr val="0070C0"/>
                </a:solidFill>
              </a:rPr>
              <a:t>Strengths</a:t>
            </a:r>
            <a:endParaRPr lang="en-US" sz="1300">
              <a:solidFill>
                <a:srgbClr val="0070C0"/>
              </a:solidFill>
            </a:endParaRPr>
          </a:p>
          <a:p>
            <a:pPr marL="180975" indent="-180975">
              <a:spcBef>
                <a:spcPts val="600"/>
              </a:spcBef>
              <a:buClr>
                <a:srgbClr val="7889FB"/>
              </a:buClr>
              <a:buFont typeface="Wingdings" pitchFamily="2" charset="2"/>
              <a:buChar char="§"/>
            </a:pPr>
            <a:r>
              <a:rPr lang="en-US" sz="1400"/>
              <a:t>Allegiance to founding principles and core values</a:t>
            </a:r>
          </a:p>
          <a:p>
            <a:pPr marL="180975" indent="-180975">
              <a:spcBef>
                <a:spcPts val="600"/>
              </a:spcBef>
              <a:buClr>
                <a:srgbClr val="7889FB"/>
              </a:buClr>
              <a:buFont typeface="Wingdings" pitchFamily="2" charset="2"/>
              <a:buChar char="§"/>
            </a:pPr>
            <a:r>
              <a:rPr lang="en-US" sz="1400"/>
              <a:t>Strong organizational identity and ALCS brand</a:t>
            </a:r>
          </a:p>
          <a:p>
            <a:pPr marL="180975" indent="-180975">
              <a:spcBef>
                <a:spcPts val="600"/>
              </a:spcBef>
              <a:buClr>
                <a:srgbClr val="7889FB"/>
              </a:buClr>
              <a:buFont typeface="Wingdings" pitchFamily="2" charset="2"/>
              <a:buChar char="§"/>
            </a:pPr>
            <a:r>
              <a:rPr lang="en-US" sz="1400"/>
              <a:t>Expansive national reach to target audiences </a:t>
            </a:r>
          </a:p>
          <a:p>
            <a:pPr marL="180975" indent="-180975">
              <a:spcBef>
                <a:spcPts val="600"/>
              </a:spcBef>
              <a:buClr>
                <a:srgbClr val="7889FB"/>
              </a:buClr>
              <a:buFont typeface="Wingdings" pitchFamily="2" charset="2"/>
              <a:buChar char="§"/>
            </a:pPr>
            <a:r>
              <a:rPr lang="en-US" sz="1400"/>
              <a:t>Strong political support, including partnership with the Ministry of Health</a:t>
            </a:r>
          </a:p>
          <a:p>
            <a:pPr marL="180975" indent="-180975">
              <a:spcBef>
                <a:spcPts val="600"/>
              </a:spcBef>
              <a:buClr>
                <a:srgbClr val="7889FB"/>
              </a:buClr>
              <a:buFont typeface="Wingdings" pitchFamily="2" charset="2"/>
              <a:buChar char="§"/>
            </a:pPr>
            <a:r>
              <a:rPr lang="en-US" sz="1400"/>
              <a:t>Experienced, engaged and motivated personnel and volunteers</a:t>
            </a:r>
          </a:p>
          <a:p>
            <a:pPr marL="180975" indent="-180975">
              <a:spcBef>
                <a:spcPts val="600"/>
              </a:spcBef>
              <a:buClr>
                <a:srgbClr val="7889FB"/>
              </a:buClr>
              <a:buFont typeface="Wingdings" pitchFamily="2" charset="2"/>
              <a:buChar char="§"/>
            </a:pPr>
            <a:r>
              <a:rPr lang="en-US" sz="1400"/>
              <a:t>Well defined operational business processes and performance metrics</a:t>
            </a:r>
          </a:p>
          <a:p>
            <a:pPr marL="180975" indent="-180975">
              <a:spcBef>
                <a:spcPts val="600"/>
              </a:spcBef>
              <a:buClr>
                <a:srgbClr val="7889FB"/>
              </a:buClr>
              <a:buFont typeface="Wingdings" pitchFamily="2" charset="2"/>
              <a:buChar char="§"/>
            </a:pPr>
            <a:r>
              <a:rPr lang="en-US" sz="1400"/>
              <a:t>Global partnerships with like minded organizations</a:t>
            </a:r>
          </a:p>
          <a:p>
            <a:pPr marL="180975" indent="-180975">
              <a:spcBef>
                <a:spcPts val="600"/>
              </a:spcBef>
              <a:buClr>
                <a:srgbClr val="7889FB"/>
              </a:buClr>
              <a:buFont typeface="Wingdings" pitchFamily="2" charset="2"/>
              <a:buChar char="§"/>
            </a:pPr>
            <a:r>
              <a:rPr lang="en-US" sz="1400"/>
              <a:t>Innovative approaches to fundraising and marketing, including SIDACTION</a:t>
            </a:r>
          </a:p>
          <a:p>
            <a:pPr marL="180975" indent="-180975">
              <a:spcBef>
                <a:spcPts val="600"/>
              </a:spcBef>
              <a:buClr>
                <a:srgbClr val="7889FB"/>
              </a:buClr>
              <a:buFont typeface="Wingdings" pitchFamily="2" charset="2"/>
              <a:buChar char="§"/>
            </a:pPr>
            <a:r>
              <a:rPr lang="en-US" sz="1400"/>
              <a:t>Open to change and continuous process improvements</a:t>
            </a:r>
          </a:p>
          <a:p>
            <a:pPr marL="180975" indent="-180975">
              <a:spcBef>
                <a:spcPts val="600"/>
              </a:spcBef>
              <a:buClr>
                <a:srgbClr val="7889FB"/>
              </a:buClr>
              <a:buFont typeface="Wingdings" pitchFamily="2" charset="2"/>
              <a:buChar char="§"/>
            </a:pPr>
            <a:endParaRPr lang="en-US" sz="1400"/>
          </a:p>
        </p:txBody>
      </p:sp>
      <p:sp>
        <p:nvSpPr>
          <p:cNvPr id="53252" name="Rectangle 8"/>
          <p:cNvSpPr>
            <a:spLocks noChangeArrowheads="1"/>
          </p:cNvSpPr>
          <p:nvPr/>
        </p:nvSpPr>
        <p:spPr bwMode="gray">
          <a:xfrm>
            <a:off x="282575" y="625475"/>
            <a:ext cx="8008938" cy="427038"/>
          </a:xfrm>
          <a:prstGeom prst="rect">
            <a:avLst/>
          </a:prstGeom>
          <a:noFill/>
          <a:ln w="9525" algn="ctr">
            <a:noFill/>
            <a:miter lim="800000"/>
            <a:headEnd/>
            <a:tailEnd/>
          </a:ln>
        </p:spPr>
        <p:txBody>
          <a:bodyPr lIns="0" tIns="45716" rIns="91436" bIns="45716"/>
          <a:lstStyle/>
          <a:p>
            <a:pPr>
              <a:lnSpc>
                <a:spcPct val="90000"/>
              </a:lnSpc>
            </a:pPr>
            <a:r>
              <a:rPr lang="en-US" sz="2000"/>
              <a:t>ALCS has a strong base of capabilities – and a series of challenges</a:t>
            </a:r>
            <a:endParaRPr lang="nl-NL" sz="2000"/>
          </a:p>
        </p:txBody>
      </p:sp>
      <p:sp>
        <p:nvSpPr>
          <p:cNvPr id="950281" name="Rectangle 9"/>
          <p:cNvSpPr>
            <a:spLocks noChangeArrowheads="1"/>
          </p:cNvSpPr>
          <p:nvPr/>
        </p:nvSpPr>
        <p:spPr bwMode="auto">
          <a:xfrm>
            <a:off x="220663" y="6230938"/>
            <a:ext cx="1989137" cy="246062"/>
          </a:xfrm>
          <a:prstGeom prst="rect">
            <a:avLst/>
          </a:prstGeom>
          <a:solidFill>
            <a:schemeClr val="bg1"/>
          </a:solidFill>
          <a:ln w="9525">
            <a:noFill/>
            <a:miter lim="800000"/>
            <a:headEnd/>
            <a:tailEnd/>
          </a:ln>
          <a:effectLst/>
        </p:spPr>
        <p:txBody>
          <a:bodyPr wrap="none" lIns="91436" tIns="45716" rIns="91436" bIns="45716">
            <a:spAutoFit/>
          </a:bodyPr>
          <a:lstStyle/>
          <a:p>
            <a:pPr fontAlgn="auto">
              <a:spcBef>
                <a:spcPts val="0"/>
              </a:spcBef>
              <a:spcAft>
                <a:spcPts val="0"/>
              </a:spcAft>
              <a:defRPr/>
            </a:pPr>
            <a:r>
              <a:rPr lang="en-US" sz="1000" i="1" dirty="0">
                <a:solidFill>
                  <a:schemeClr val="bg1">
                    <a:lumMod val="50000"/>
                  </a:schemeClr>
                </a:solidFill>
                <a:latin typeface="+mn-lt"/>
                <a:cs typeface="+mn-cs"/>
              </a:rPr>
              <a:t>Source: Discussions with FTAM</a:t>
            </a:r>
            <a:endParaRPr lang="de-DE" sz="1000" i="1" dirty="0">
              <a:solidFill>
                <a:schemeClr val="bg1">
                  <a:lumMod val="50000"/>
                </a:schemeClr>
              </a:solidFill>
              <a:latin typeface="+mn-lt"/>
              <a:cs typeface="+mn-cs"/>
            </a:endParaRPr>
          </a:p>
        </p:txBody>
      </p:sp>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RESIZE" val="Yes"/>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DALXo6pe8kq6SVKaWy.ic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7q_2Bz.4TUyh_V9xIFMMAg"/>
</p:tagLst>
</file>

<file path=ppt/theme/theme1.xml><?xml version="1.0" encoding="utf-8"?>
<a:theme xmlns:a="http://schemas.openxmlformats.org/drawingml/2006/main" name="NA Delivery template">
  <a:themeElements>
    <a:clrScheme name="NA Delivery template 1">
      <a:dk1>
        <a:srgbClr val="000000"/>
      </a:dk1>
      <a:lt1>
        <a:srgbClr val="FFFFFF"/>
      </a:lt1>
      <a:dk2>
        <a:srgbClr val="000000"/>
      </a:dk2>
      <a:lt2>
        <a:srgbClr val="808080"/>
      </a:lt2>
      <a:accent1>
        <a:srgbClr val="009999"/>
      </a:accent1>
      <a:accent2>
        <a:srgbClr val="71BFA7"/>
      </a:accent2>
      <a:accent3>
        <a:srgbClr val="FFFFFF"/>
      </a:accent3>
      <a:accent4>
        <a:srgbClr val="000000"/>
      </a:accent4>
      <a:accent5>
        <a:srgbClr val="AACACA"/>
      </a:accent5>
      <a:accent6>
        <a:srgbClr val="66AD97"/>
      </a:accent6>
      <a:hlink>
        <a:srgbClr val="7889FB"/>
      </a:hlink>
      <a:folHlink>
        <a:srgbClr val="9900CC"/>
      </a:folHlink>
    </a:clrScheme>
    <a:fontScheme name="NA Delivery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9525">
          <a:noFill/>
          <a:miter lim="800000"/>
          <a:headEnd/>
          <a:tailEnd/>
        </a:ln>
        <a:effectLst/>
      </a:spPr>
      <a:bodyPr lIns="0" tIns="0" rIns="0" bIns="0"/>
      <a:lstStyle>
        <a:defPPr marL="225425" indent="-225425">
          <a:buClr>
            <a:srgbClr val="7889FB"/>
          </a:buClr>
          <a:buFont typeface="Wingdings" pitchFamily="2" charset="2"/>
          <a:buChar char="§"/>
          <a:defRPr sz="1300" dirty="0" smtClean="0"/>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NA Delivery template 1">
        <a:dk1>
          <a:srgbClr val="000000"/>
        </a:dk1>
        <a:lt1>
          <a:srgbClr val="FFFFFF"/>
        </a:lt1>
        <a:dk2>
          <a:srgbClr val="000000"/>
        </a:dk2>
        <a:lt2>
          <a:srgbClr val="808080"/>
        </a:lt2>
        <a:accent1>
          <a:srgbClr val="009999"/>
        </a:accent1>
        <a:accent2>
          <a:srgbClr val="71BFA7"/>
        </a:accent2>
        <a:accent3>
          <a:srgbClr val="FFFFFF"/>
        </a:accent3>
        <a:accent4>
          <a:srgbClr val="000000"/>
        </a:accent4>
        <a:accent5>
          <a:srgbClr val="AACACA"/>
        </a:accent5>
        <a:accent6>
          <a:srgbClr val="66AD97"/>
        </a:accent6>
        <a:hlink>
          <a:srgbClr val="7889FB"/>
        </a:hlink>
        <a:folHlink>
          <a:srgbClr val="9900CC"/>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NA Delivery template">
  <a:themeElements>
    <a:clrScheme name="1_NA Delivery template 1">
      <a:dk1>
        <a:srgbClr val="000000"/>
      </a:dk1>
      <a:lt1>
        <a:srgbClr val="FFFFFF"/>
      </a:lt1>
      <a:dk2>
        <a:srgbClr val="000000"/>
      </a:dk2>
      <a:lt2>
        <a:srgbClr val="808080"/>
      </a:lt2>
      <a:accent1>
        <a:srgbClr val="009999"/>
      </a:accent1>
      <a:accent2>
        <a:srgbClr val="71BFA7"/>
      </a:accent2>
      <a:accent3>
        <a:srgbClr val="FFFFFF"/>
      </a:accent3>
      <a:accent4>
        <a:srgbClr val="000000"/>
      </a:accent4>
      <a:accent5>
        <a:srgbClr val="AACACA"/>
      </a:accent5>
      <a:accent6>
        <a:srgbClr val="66AD97"/>
      </a:accent6>
      <a:hlink>
        <a:srgbClr val="7889FB"/>
      </a:hlink>
      <a:folHlink>
        <a:srgbClr val="9900CC"/>
      </a:folHlink>
    </a:clrScheme>
    <a:fontScheme name="1_NA Delivery 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NA Delivery template 1">
        <a:dk1>
          <a:srgbClr val="000000"/>
        </a:dk1>
        <a:lt1>
          <a:srgbClr val="FFFFFF"/>
        </a:lt1>
        <a:dk2>
          <a:srgbClr val="000000"/>
        </a:dk2>
        <a:lt2>
          <a:srgbClr val="808080"/>
        </a:lt2>
        <a:accent1>
          <a:srgbClr val="009999"/>
        </a:accent1>
        <a:accent2>
          <a:srgbClr val="71BFA7"/>
        </a:accent2>
        <a:accent3>
          <a:srgbClr val="FFFFFF"/>
        </a:accent3>
        <a:accent4>
          <a:srgbClr val="000000"/>
        </a:accent4>
        <a:accent5>
          <a:srgbClr val="AACACA"/>
        </a:accent5>
        <a:accent6>
          <a:srgbClr val="66AD97"/>
        </a:accent6>
        <a:hlink>
          <a:srgbClr val="7889FB"/>
        </a:hlink>
        <a:folHlink>
          <a:srgbClr val="9900CC"/>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NA Delivery template">
  <a:themeElements>
    <a:clrScheme name="2_NA Delivery template 1">
      <a:dk1>
        <a:srgbClr val="000000"/>
      </a:dk1>
      <a:lt1>
        <a:srgbClr val="FFFFFF"/>
      </a:lt1>
      <a:dk2>
        <a:srgbClr val="000000"/>
      </a:dk2>
      <a:lt2>
        <a:srgbClr val="808080"/>
      </a:lt2>
      <a:accent1>
        <a:srgbClr val="009999"/>
      </a:accent1>
      <a:accent2>
        <a:srgbClr val="71BFA7"/>
      </a:accent2>
      <a:accent3>
        <a:srgbClr val="FFFFFF"/>
      </a:accent3>
      <a:accent4>
        <a:srgbClr val="000000"/>
      </a:accent4>
      <a:accent5>
        <a:srgbClr val="AACACA"/>
      </a:accent5>
      <a:accent6>
        <a:srgbClr val="66AD97"/>
      </a:accent6>
      <a:hlink>
        <a:srgbClr val="7889FB"/>
      </a:hlink>
      <a:folHlink>
        <a:srgbClr val="9900CC"/>
      </a:folHlink>
    </a:clrScheme>
    <a:fontScheme name="2_NA Delivery 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NA Delivery template 1">
        <a:dk1>
          <a:srgbClr val="000000"/>
        </a:dk1>
        <a:lt1>
          <a:srgbClr val="FFFFFF"/>
        </a:lt1>
        <a:dk2>
          <a:srgbClr val="000000"/>
        </a:dk2>
        <a:lt2>
          <a:srgbClr val="808080"/>
        </a:lt2>
        <a:accent1>
          <a:srgbClr val="009999"/>
        </a:accent1>
        <a:accent2>
          <a:srgbClr val="71BFA7"/>
        </a:accent2>
        <a:accent3>
          <a:srgbClr val="FFFFFF"/>
        </a:accent3>
        <a:accent4>
          <a:srgbClr val="000000"/>
        </a:accent4>
        <a:accent5>
          <a:srgbClr val="AACACA"/>
        </a:accent5>
        <a:accent6>
          <a:srgbClr val="66AD97"/>
        </a:accent6>
        <a:hlink>
          <a:srgbClr val="7889FB"/>
        </a:hlink>
        <a:folHlink>
          <a:srgbClr val="9900CC"/>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3475</TotalTime>
  <Words>2956</Words>
  <Application>Microsoft Office PowerPoint</Application>
  <PresentationFormat>On-screen Show (4:3)</PresentationFormat>
  <Paragraphs>649</Paragraphs>
  <Slides>55</Slides>
  <Notes>4</Notes>
  <HiddenSlides>0</HiddenSlides>
  <MMClips>0</MMClips>
  <ScaleCrop>false</ScaleCrop>
  <HeadingPairs>
    <vt:vector size="8" baseType="variant">
      <vt:variant>
        <vt:lpstr>Fonts Used</vt:lpstr>
      </vt:variant>
      <vt:variant>
        <vt:i4>6</vt:i4>
      </vt:variant>
      <vt:variant>
        <vt:lpstr>Design Template</vt:lpstr>
      </vt:variant>
      <vt:variant>
        <vt:i4>5</vt:i4>
      </vt:variant>
      <vt:variant>
        <vt:lpstr>Embedded OLE Servers</vt:lpstr>
      </vt:variant>
      <vt:variant>
        <vt:i4>1</vt:i4>
      </vt:variant>
      <vt:variant>
        <vt:lpstr>Slide Titles</vt:lpstr>
      </vt:variant>
      <vt:variant>
        <vt:i4>55</vt:i4>
      </vt:variant>
    </vt:vector>
  </HeadingPairs>
  <TitlesOfParts>
    <vt:vector size="67" baseType="lpstr">
      <vt:lpstr>Arial</vt:lpstr>
      <vt:lpstr>Wingdings</vt:lpstr>
      <vt:lpstr>Calibri</vt:lpstr>
      <vt:lpstr>SimSun</vt:lpstr>
      <vt:lpstr>Helvetica</vt:lpstr>
      <vt:lpstr>Symbol</vt:lpstr>
      <vt:lpstr>NA Delivery template</vt:lpstr>
      <vt:lpstr>1_NA Delivery template</vt:lpstr>
      <vt:lpstr>2_NA Delivery template</vt:lpstr>
      <vt:lpstr>NA Delivery template</vt:lpstr>
      <vt:lpstr>NA Delivery template</vt:lpstr>
      <vt:lpstr>Visio</vt:lpstr>
      <vt:lpstr>IT Solutions for Business Impact and Sustainability Association de lutte contre la sida (ALCS)    May 23, 2014</vt:lpstr>
      <vt:lpstr>Slide 2</vt:lpstr>
      <vt:lpstr>Our Understanding of ALCS Priorities </vt:lpstr>
      <vt:lpstr>Executive Summary</vt:lpstr>
      <vt:lpstr>Defined Project Priorities &amp; ALCS/IBM Commitments</vt:lpstr>
      <vt:lpstr>Our Approach   </vt:lpstr>
      <vt:lpstr>ALCS members contributed to the project with their passion, expertise and tremendous Moroccan hospitality </vt:lpstr>
      <vt:lpstr>Slide 8</vt:lpstr>
      <vt:lpstr>Slide 9</vt:lpstr>
      <vt:lpstr>Strengths and weaknesses may be turned into opportunities                        – keeping in mind the potential threats</vt:lpstr>
      <vt:lpstr>ALCS operations and management are driven by programs/projects </vt:lpstr>
      <vt:lpstr>Slide 12</vt:lpstr>
      <vt:lpstr>Slide 13</vt:lpstr>
      <vt:lpstr>Information Technology Assessment: Recommendations  </vt:lpstr>
      <vt:lpstr>Slide 15</vt:lpstr>
      <vt:lpstr>Investing in a centralized program management application will improve operational efficiency and sustainability</vt:lpstr>
      <vt:lpstr>Slide 17</vt:lpstr>
      <vt:lpstr>Financial Management: Overview</vt:lpstr>
      <vt:lpstr>Financial Management</vt:lpstr>
      <vt:lpstr>Project Creation and Validation</vt:lpstr>
      <vt:lpstr>Payment Request and Approval Process</vt:lpstr>
      <vt:lpstr>Payment Request and Approval Process</vt:lpstr>
      <vt:lpstr>Dashboard DAF</vt:lpstr>
      <vt:lpstr>Dashboard DAF</vt:lpstr>
      <vt:lpstr>Dashboard Treasurer</vt:lpstr>
      <vt:lpstr>Dashboard Branch Coordinator for Payment Request</vt:lpstr>
      <vt:lpstr>Notification for Reporting – Dashboard for DG</vt:lpstr>
      <vt:lpstr>Financial Management Recommendations</vt:lpstr>
      <vt:lpstr>Slide 29</vt:lpstr>
      <vt:lpstr>Today - Future</vt:lpstr>
      <vt:lpstr>Data Collection Process</vt:lpstr>
      <vt:lpstr>Data Collection Process</vt:lpstr>
      <vt:lpstr>Data Collection Process</vt:lpstr>
      <vt:lpstr>Template Design Screen</vt:lpstr>
      <vt:lpstr>Assign Data Collection Task</vt:lpstr>
      <vt:lpstr>Enter Data at Branch Level</vt:lpstr>
      <vt:lpstr>Validation Process</vt:lpstr>
      <vt:lpstr>Validate collected Data at National Level</vt:lpstr>
      <vt:lpstr>Data Model</vt:lpstr>
      <vt:lpstr>Data Model – Operational Data Extract</vt:lpstr>
      <vt:lpstr>Operational Data Collection: Recommendations</vt:lpstr>
      <vt:lpstr>Slide 42</vt:lpstr>
      <vt:lpstr>Software/Development Partner Selection Considerations</vt:lpstr>
      <vt:lpstr>Criteria for Decision Making</vt:lpstr>
      <vt:lpstr>Slide 45</vt:lpstr>
      <vt:lpstr>Systems Integration Recommendations: Assessment of interface possibilities between SAGE1000 &amp; SAGE100  </vt:lpstr>
      <vt:lpstr>Recommendation: Leverage online collaboration tools to  strengthen internal communications and information sharing</vt:lpstr>
      <vt:lpstr>Fundraising Recommendations: Optimize donor database to effectively address potential funding sources</vt:lpstr>
      <vt:lpstr>Donor Database Optimization Recommendation</vt:lpstr>
      <vt:lpstr>Archiving/Backup Recommendations:   Institute a plan to support continuity of operations and IT security  </vt:lpstr>
      <vt:lpstr>Mobile Recommendations:  Create a customized application based on existing HIV/AIDS frameworks  </vt:lpstr>
      <vt:lpstr>Slide 52</vt:lpstr>
      <vt:lpstr>Deliverables  </vt:lpstr>
      <vt:lpstr>References  </vt:lpstr>
      <vt:lpstr>Slide 55</vt:lpstr>
    </vt:vector>
  </TitlesOfParts>
  <Company>IBM Corporation</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proach</dc:title>
  <dc:creator>ADMINIBM</dc:creator>
  <cp:lastModifiedBy>ADMINIBM</cp:lastModifiedBy>
  <cp:revision>468</cp:revision>
  <dcterms:created xsi:type="dcterms:W3CDTF">2013-05-22T07:22:00Z</dcterms:created>
  <dcterms:modified xsi:type="dcterms:W3CDTF">2014-05-22T17:06:46Z</dcterms:modified>
</cp:coreProperties>
</file>